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815" r:id="rId4"/>
    <p:sldMasterId id="2147483858" r:id="rId5"/>
    <p:sldMasterId id="2147483819" r:id="rId6"/>
    <p:sldMasterId id="2147483871" r:id="rId7"/>
    <p:sldMasterId id="2147483892" r:id="rId8"/>
    <p:sldMasterId id="2147483906" r:id="rId9"/>
  </p:sldMasterIdLst>
  <p:notesMasterIdLst>
    <p:notesMasterId r:id="rId19"/>
  </p:notesMasterIdLst>
  <p:sldIdLst>
    <p:sldId id="1435" r:id="rId10"/>
    <p:sldId id="1428" r:id="rId11"/>
    <p:sldId id="1434" r:id="rId12"/>
    <p:sldId id="1438" r:id="rId13"/>
    <p:sldId id="1433" r:id="rId14"/>
    <p:sldId id="1430" r:id="rId15"/>
    <p:sldId id="1432" r:id="rId16"/>
    <p:sldId id="1436" r:id="rId17"/>
    <p:sldId id="1437" r:id="rId18"/>
  </p:sldIdLst>
  <p:sldSz cx="12192000" cy="6858000"/>
  <p:notesSz cx="6858000" cy="9144000"/>
  <p:defaultTextStyle>
    <a:defPPr>
      <a:defRPr lang="en-US"/>
    </a:defPPr>
    <a:lvl1pPr marL="0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02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ky M Adams" initials="VMA" lastIdx="8" clrIdx="0">
    <p:extLst>
      <p:ext uri="{19B8F6BF-5375-455C-9EA6-DF929625EA0E}">
        <p15:presenceInfo xmlns:p15="http://schemas.microsoft.com/office/powerpoint/2012/main" userId="S::Vicky.Adams@fly.virgin.com::f2b8456d-8c7b-45ac-b3ab-87c8739aa646" providerId="AD"/>
      </p:ext>
    </p:extLst>
  </p:cmAuthor>
  <p:cmAuthor id="2" name="Satishvarma Yellamraju" initials="SY" lastIdx="10" clrIdx="1">
    <p:extLst>
      <p:ext uri="{19B8F6BF-5375-455C-9EA6-DF929625EA0E}">
        <p15:presenceInfo xmlns:p15="http://schemas.microsoft.com/office/powerpoint/2012/main" userId="S-1-5-21-3871640793-1561553363-164305601-258188" providerId="AD"/>
      </p:ext>
    </p:extLst>
  </p:cmAuthor>
  <p:cmAuthor id="3" name="Satishvarma Yellamraju" initials="SY [2]" lastIdx="3" clrIdx="2">
    <p:extLst>
      <p:ext uri="{19B8F6BF-5375-455C-9EA6-DF929625EA0E}">
        <p15:presenceInfo xmlns:p15="http://schemas.microsoft.com/office/powerpoint/2012/main" userId="S::Satishvarma.Yellamraju@fly.virgin.com::e35b5d08-7f3b-40a1-976a-29230eac75d3" providerId="AD"/>
      </p:ext>
    </p:extLst>
  </p:cmAuthor>
  <p:cmAuthor id="4" name="Monika Arora" initials="MA" lastIdx="1" clrIdx="3">
    <p:extLst>
      <p:ext uri="{19B8F6BF-5375-455C-9EA6-DF929625EA0E}">
        <p15:presenceInfo xmlns:p15="http://schemas.microsoft.com/office/powerpoint/2012/main" userId="S::Monika.Arora@fly.virgin.com::725d855b-a8d2-4757-b8c9-a39cce1d4f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658"/>
    <a:srgbClr val="FFD347"/>
    <a:srgbClr val="FFE79B"/>
    <a:srgbClr val="0000FF"/>
    <a:srgbClr val="DA0030"/>
    <a:srgbClr val="440404"/>
    <a:srgbClr val="1E0589"/>
    <a:srgbClr val="F7DF2D"/>
    <a:srgbClr val="441D61"/>
    <a:srgbClr val="EAE7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7A6323-2916-49D7-8FDD-A7C4E06CCBFF}" v="119" dt="2022-08-04T17:11:58.464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9" autoAdjust="0"/>
    <p:restoredTop sz="94660"/>
  </p:normalViewPr>
  <p:slideViewPr>
    <p:cSldViewPr snapToGrid="0">
      <p:cViewPr varScale="1">
        <p:scale>
          <a:sx n="82" d="100"/>
          <a:sy n="82" d="100"/>
        </p:scale>
        <p:origin x="710" y="58"/>
      </p:cViewPr>
      <p:guideLst>
        <p:guide pos="702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C89FF4-E900-084E-9C0A-941CE8FB2E64}" type="datetimeFigureOut">
              <a:rPr lang="en-US" smtClean="0"/>
              <a:t>8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E2079A-154C-D748-8780-FC7F5018E7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210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1_Title Slide_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6"/>
            <a:ext cx="7171053" cy="586084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Welcom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A2A4B8-EEF3-A148-AB14-28CE5504F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42" y="1281458"/>
            <a:ext cx="7170818" cy="2606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200" b="0" i="0" kern="1200" spc="0" baseline="0" dirty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5814B8-58F2-3549-97C8-A55607CAC1DA}"/>
              </a:ext>
            </a:extLst>
          </p:cNvPr>
          <p:cNvSpPr txBox="1"/>
          <p:nvPr userDrawn="1"/>
        </p:nvSpPr>
        <p:spPr>
          <a:xfrm>
            <a:off x="-184068" y="480951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200" b="0" i="0" spc="50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2938C71-872B-154D-9B67-171BD431DA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208" y="5688184"/>
            <a:ext cx="5242006" cy="780451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2464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Date]</a:t>
            </a:r>
            <a:br>
              <a:rPr lang="en-US"/>
            </a:br>
            <a:r>
              <a:rPr lang="en-US"/>
              <a:t>[Speaker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3A5514-8971-4849-A98F-02F842B85D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691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_Two Line Title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C1F383-E86A-4537-B3C4-E2962038C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401" y="489652"/>
            <a:ext cx="7184861" cy="78344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5C90D11-6F16-8443-9149-95131EC67A7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71975" y="1844675"/>
            <a:ext cx="3447380" cy="400049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7888BE83-F8D5-AE42-BE00-109894B714A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08992" y="1844675"/>
            <a:ext cx="3447612" cy="400050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781E8C73-636D-4443-A5B5-62638665BFA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9" y="1844675"/>
            <a:ext cx="3449239" cy="4000512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032D6A5B-B2DB-B147-AD76-B942B1F1B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1381541"/>
            <a:ext cx="7185025" cy="255329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13010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23999" y="869693"/>
            <a:ext cx="10944000" cy="263782"/>
          </a:xfrm>
        </p:spPr>
        <p:txBody>
          <a:bodyPr anchor="ctr">
            <a:noAutofit/>
          </a:bodyPr>
          <a:lstStyle>
            <a:lvl1pPr>
              <a:defRPr b="0">
                <a:solidFill>
                  <a:srgbClr val="333333"/>
                </a:solidFill>
              </a:defRPr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4000" y="1251284"/>
            <a:ext cx="10944000" cy="4716000"/>
          </a:xfr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81841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1_Break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76250"/>
            <a:ext cx="7171053" cy="576263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Breaker sl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094B0E-2859-9E48-910A-DFC0DA9D1E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650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2_Breaker Slide_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0B315DB-7E38-0A40-BC16-3B4E42F5D9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76250"/>
            <a:ext cx="7171053" cy="576263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Breaker sl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7A4382-B032-254A-953F-14E02DCD8D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66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3_Breaker Slide_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D6A2234-D317-4548-9D47-300AD6E438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8DAAC8-AF1C-254E-8468-2A4D1834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76250"/>
            <a:ext cx="7171053" cy="576263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Breaker slid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CB1639-F0BB-8741-BD69-5C10EB91EC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4_Breaker Slide_Most Lov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291286"/>
            <a:ext cx="10907793" cy="1243706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ctr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he most loved </a:t>
            </a:r>
            <a:br>
              <a:rPr lang="en-US"/>
            </a:br>
            <a:r>
              <a:rPr lang="en-US"/>
              <a:t>travel compan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713A209-C1AE-824A-83B1-C60A8DAEF6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75150" y="728936"/>
            <a:ext cx="3441700" cy="30099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328463-CD6D-A54F-9BA1-68FD7965D3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463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5_Breaker Slide_Ex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E859608-821F-3A45-B186-70587FEF4E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8DAAC8-AF1C-254E-8468-2A4D1834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76250"/>
            <a:ext cx="7171053" cy="576263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Example breaker sli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3A4B34-16D0-A148-81F2-53042F5593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29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One Line Title + One Imag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278563" y="0"/>
            <a:ext cx="5913437" cy="6858000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05B190A-FA42-F348-A9AB-33CFBD42045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9" y="1424366"/>
            <a:ext cx="5007766" cy="44208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8D185B-6D84-3E4F-AC16-02D751346804}"/>
              </a:ext>
            </a:extLst>
          </p:cNvPr>
          <p:cNvSpPr txBox="1"/>
          <p:nvPr userDrawn="1"/>
        </p:nvSpPr>
        <p:spPr>
          <a:xfrm>
            <a:off x="2606566" y="672662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200" b="0" i="0" spc="50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2685E94-872F-174E-B2D7-BB46F27C6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5007767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D474753-BE93-7546-9D0C-801D97E38A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8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68848B-FE34-6941-B229-B650E1914E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26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_One Line Title + One Imag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891213" cy="6858000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05B190A-FA42-F348-A9AB-33CFBD42045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26611" y="1424366"/>
            <a:ext cx="5030389" cy="44208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8D185B-6D84-3E4F-AC16-02D751346804}"/>
              </a:ext>
            </a:extLst>
          </p:cNvPr>
          <p:cNvSpPr txBox="1"/>
          <p:nvPr userDrawn="1"/>
        </p:nvSpPr>
        <p:spPr>
          <a:xfrm>
            <a:off x="2606566" y="672662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200" b="0" i="0" spc="50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2685E94-872F-174E-B2D7-BB46F27C6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6611" y="483394"/>
            <a:ext cx="5030389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017E1167-9785-554F-9520-C94758F07D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611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225520-F31F-214F-99B4-E34D071296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89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_Two Line Title + One imag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8563" y="0"/>
            <a:ext cx="5913437" cy="6858000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0D1C63B-459A-AF43-B8E1-8DFF58D643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401" y="489651"/>
            <a:ext cx="5007764" cy="74383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31AE999-3CE6-DE4E-B201-927087B029D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8" y="1856458"/>
            <a:ext cx="5007767" cy="398871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28689E0-30AB-2649-9BB4-DF83E67F3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8" y="1376362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0A4C19-049D-F24D-AA96-CCB7410935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8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2_Title Slide_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8" y="489655"/>
            <a:ext cx="7170818" cy="1223815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wo line title for </a:t>
            </a:r>
            <a:br>
              <a:rPr lang="en-US"/>
            </a:br>
            <a:r>
              <a:rPr lang="en-US"/>
              <a:t>longer presentations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5A2A4B8-EEF3-A148-AB14-28CE5504F7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488" y="1877443"/>
            <a:ext cx="4548327" cy="474306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200" b="0" i="0" kern="1200" spc="0" baseline="0" dirty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CBC1535-E1BC-9040-833D-015CCA191A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208" y="5688184"/>
            <a:ext cx="5242006" cy="780451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2464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Date]</a:t>
            </a:r>
            <a:br>
              <a:rPr lang="en-US"/>
            </a:br>
            <a:r>
              <a:rPr lang="en-US"/>
              <a:t>[Speaker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AD92F2-87A0-F345-8CDD-A547103E15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424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_Two Line Title + One imag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891213" cy="6858000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0D1C63B-459A-AF43-B8E1-8DFF58D643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6614" y="489651"/>
            <a:ext cx="5030386" cy="74383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31AE999-3CE6-DE4E-B201-927087B029D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26611" y="1856458"/>
            <a:ext cx="5030389" cy="398871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D354CDCD-DE73-E24F-AFF0-805408D2AE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611" y="1376362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77B969-EDAF-5448-A6A1-74E8868ECE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965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_One Line Title + Three Images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8563" y="2420471"/>
            <a:ext cx="5913437" cy="4437529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BE0DFBB3-805B-7E4A-957A-F29C8119A5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78564" y="-1"/>
            <a:ext cx="2900605" cy="2321859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1EA339CC-8C10-CF46-9033-D7BE3F44EE7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400" y="1488946"/>
            <a:ext cx="5010219" cy="435622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4B8DF766-05E0-2B48-AE59-8BD3AA6A2D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5010221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396B20A-91B4-744E-ACB0-C19FFA39E2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291395" y="-1"/>
            <a:ext cx="2900605" cy="2321859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F559818-612E-0C4A-AEC3-AF47C7134C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8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00B1F-CCBA-0C44-A34A-7044481A8E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6945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_One Line Title + Three Images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E810D9B-802F-5448-AE10-29764F55A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2420471"/>
            <a:ext cx="5885804" cy="4445584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BE0DFBB3-805B-7E4A-957A-F29C8119A5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2906120" cy="2326074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1EA339CC-8C10-CF46-9033-D7BE3F44EE7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46531" y="1488946"/>
            <a:ext cx="5010469" cy="435622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4B8DF766-05E0-2B48-AE59-8BD3AA6A2D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6529" y="476250"/>
            <a:ext cx="5010471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57D1CAE5-1BE4-0A4C-9CA1-773B87CE67F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79683" y="-1"/>
            <a:ext cx="2906120" cy="2326074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780E09E8-166B-F64C-90FD-2D777F9703C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6529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4AB6CD7-239A-A240-9723-1082776338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3701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_Two Line Title + Three Images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600CDA0A-4E4A-C542-A4B4-642836752A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402" y="489651"/>
            <a:ext cx="4994226" cy="74383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CE12E70-D9ED-5548-9E30-8176597CD27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9" y="1856458"/>
            <a:ext cx="4994229" cy="398871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2DFC08D8-976B-DD46-9019-7985C4171A4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8563" y="2420471"/>
            <a:ext cx="5913437" cy="4437529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1F6EDC4-9129-E240-8F03-85CF60A9C38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78564" y="-1"/>
            <a:ext cx="2900605" cy="2321859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3D262589-0FAE-7E49-8E4E-54233291AE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291395" y="-1"/>
            <a:ext cx="2900605" cy="2321859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92B9F5B-E96A-264B-89A2-72D3A1E2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9" y="1376362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29C857-BBE1-EB4D-A6CA-40E33123AA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9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_Two Line Title + Three Images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600CDA0A-4E4A-C542-A4B4-642836752A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6140" y="489651"/>
            <a:ext cx="5010860" cy="74383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CE12E70-D9ED-5548-9E30-8176597CD27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46140" y="1856458"/>
            <a:ext cx="5010860" cy="398871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1A3ABE4-934B-2D4D-9EE1-FC67F7EB41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2420471"/>
            <a:ext cx="5885804" cy="4445584"/>
          </a:xfrm>
          <a:prstGeom prst="rect">
            <a:avLst/>
          </a:prstGeo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07B2ED8-1BC9-6344-9461-EE97DFB070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2906120" cy="2326074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9FF76E5D-9235-734E-8092-65F521490B6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979683" y="-1"/>
            <a:ext cx="2906120" cy="2326074"/>
          </a:xfrm>
          <a:prstGeom prst="rect">
            <a:avLst/>
          </a:prstGeom>
        </p:spPr>
        <p:txBody>
          <a:bodyPr wrap="none"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895B4558-69F8-2F44-96FA-298D131F1A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6140" y="1376362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8CCAC8-E433-7642-8144-6537F7AD50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8749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_One Line Title + One Image_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299C64-D6E0-7548-8747-E7A66A4F96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8562" y="0"/>
            <a:ext cx="5913437" cy="6858000"/>
          </a:xfrm>
          <a:prstGeom prst="rect">
            <a:avLst/>
          </a:prstGeom>
        </p:spPr>
      </p:pic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05B190A-FA42-F348-A9AB-33CFBD42045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5399" y="1424366"/>
            <a:ext cx="5007766" cy="44208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  <a:p>
            <a:pPr lvl="0"/>
            <a:r>
              <a:rPr lang="en-US"/>
              <a:t>Gravida </a:t>
            </a:r>
            <a:r>
              <a:rPr lang="en-US" err="1"/>
              <a:t>arcu</a:t>
            </a:r>
            <a:r>
              <a:rPr lang="en-US"/>
              <a:t> ac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 convallis </a:t>
            </a:r>
            <a:r>
              <a:rPr lang="en-US" err="1"/>
              <a:t>aenean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non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. Purus in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. </a:t>
            </a:r>
            <a:r>
              <a:rPr lang="en-US" err="1"/>
              <a:t>Rhoncus</a:t>
            </a:r>
            <a:r>
              <a:rPr lang="en-US"/>
              <a:t> dolor </a:t>
            </a:r>
            <a:r>
              <a:rPr lang="en-US" err="1"/>
              <a:t>purus</a:t>
            </a:r>
            <a:r>
              <a:rPr lang="en-US"/>
              <a:t> non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aesent</a:t>
            </a:r>
            <a:r>
              <a:rPr lang="en-US"/>
              <a:t>. </a:t>
            </a:r>
          </a:p>
          <a:p>
            <a:pPr lvl="0"/>
            <a:r>
              <a:rPr lang="en-US"/>
              <a:t>Id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non </a:t>
            </a:r>
            <a:r>
              <a:rPr lang="en-US" err="1"/>
              <a:t>curabitur</a:t>
            </a:r>
            <a:r>
              <a:rPr lang="en-US"/>
              <a:t>.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integer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in.</a:t>
            </a:r>
          </a:p>
          <a:p>
            <a:pPr lvl="0"/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gravida </a:t>
            </a:r>
            <a:r>
              <a:rPr lang="en-US" err="1"/>
              <a:t>neque</a:t>
            </a:r>
            <a:r>
              <a:rPr lang="en-US"/>
              <a:t> convallis a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dui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ut.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fermentum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8D185B-6D84-3E4F-AC16-02D751346804}"/>
              </a:ext>
            </a:extLst>
          </p:cNvPr>
          <p:cNvSpPr txBox="1"/>
          <p:nvPr userDrawn="1"/>
        </p:nvSpPr>
        <p:spPr>
          <a:xfrm>
            <a:off x="2606566" y="672662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200" b="0" i="0" spc="50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2685E94-872F-174E-B2D7-BB46F27C6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5007767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Example text and image slide</a:t>
            </a:r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D474753-BE93-7546-9D0C-801D97E38A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8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mages available from </a:t>
            </a:r>
            <a:r>
              <a:rPr lang="en-US" err="1"/>
              <a:t>brand.virginatlantic.com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D94927-7FEC-9B4F-8CEF-2BEE5A0D88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437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_Two Line Title + Three Images_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206AF6B-9EC0-DA4F-9457-D51C169C48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8314" y="6106506"/>
            <a:ext cx="2948289" cy="4421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B12E269-C5FF-3649-A385-840746D5B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1044" y="0"/>
            <a:ext cx="2905619" cy="232185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598BE8-93DC-9248-9A43-5F33F188B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8889" y="0"/>
            <a:ext cx="2900605" cy="23273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BCC7C6-A918-3E47-99E9-E8A25B1B5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271044" y="2420471"/>
            <a:ext cx="5920955" cy="4437529"/>
          </a:xfrm>
          <a:prstGeom prst="rect">
            <a:avLst/>
          </a:prstGeom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30990B4C-E342-224B-821F-4DA49B2B4F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5010221" cy="31295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 spc="-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Example text and image slide</a:t>
            </a:r>
            <a:endParaRPr lang="en-GB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6D5BC28-383B-E748-BDBA-EDC3EC8575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398" y="942974"/>
            <a:ext cx="5007767" cy="286736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mages available from </a:t>
            </a:r>
            <a:r>
              <a:rPr lang="en-US" err="1"/>
              <a:t>brand.virginatlantic.com</a:t>
            </a:r>
            <a:endParaRPr lang="en-US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1A10968C-F57C-B847-B67A-172DA34FDC1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5399" y="1424366"/>
            <a:ext cx="5007766" cy="442080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</a:t>
            </a:r>
          </a:p>
          <a:p>
            <a:pPr lvl="0"/>
            <a:r>
              <a:rPr lang="en-US"/>
              <a:t>Gravida </a:t>
            </a:r>
            <a:r>
              <a:rPr lang="en-US" err="1"/>
              <a:t>arcu</a:t>
            </a:r>
            <a:r>
              <a:rPr lang="en-US"/>
              <a:t> ac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 convallis </a:t>
            </a:r>
            <a:r>
              <a:rPr lang="en-US" err="1"/>
              <a:t>aenean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non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suspendisse</a:t>
            </a:r>
            <a:r>
              <a:rPr lang="en-US"/>
              <a:t>. Purus in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. </a:t>
            </a:r>
            <a:r>
              <a:rPr lang="en-US" err="1"/>
              <a:t>Rhoncus</a:t>
            </a:r>
            <a:r>
              <a:rPr lang="en-US"/>
              <a:t> dolor </a:t>
            </a:r>
            <a:r>
              <a:rPr lang="en-US" err="1"/>
              <a:t>purus</a:t>
            </a:r>
            <a:r>
              <a:rPr lang="en-US"/>
              <a:t> non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aesent</a:t>
            </a:r>
            <a:r>
              <a:rPr lang="en-US"/>
              <a:t>. </a:t>
            </a:r>
          </a:p>
          <a:p>
            <a:pPr lvl="0"/>
            <a:r>
              <a:rPr lang="en-US"/>
              <a:t>Id </a:t>
            </a:r>
            <a:r>
              <a:rPr lang="en-US" err="1"/>
              <a:t>volutp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non </a:t>
            </a:r>
            <a:r>
              <a:rPr lang="en-US" err="1"/>
              <a:t>curabitur</a:t>
            </a:r>
            <a:r>
              <a:rPr lang="en-US"/>
              <a:t>.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integer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in.</a:t>
            </a:r>
          </a:p>
          <a:p>
            <a:pPr lvl="0"/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gravida </a:t>
            </a:r>
            <a:r>
              <a:rPr lang="en-US" err="1"/>
              <a:t>neque</a:t>
            </a:r>
            <a:r>
              <a:rPr lang="en-US"/>
              <a:t> convallis a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dui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ut.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fermentum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8B07CD-96FE-3242-AC2E-47FE1D8E31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0153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1_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0FCF17D-FE71-6F43-9C67-1A09641081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5"/>
            <a:ext cx="7171053" cy="651081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87ABEF-D765-3A4C-A88B-80F5EFFDDA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731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2_Closing Slide_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6"/>
            <a:ext cx="7171053" cy="641130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EC5022-46F9-7743-9FB8-3D4467D3A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10750" y="6132355"/>
            <a:ext cx="1750672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413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3_Closing Slide_Ex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C1E4591-87F1-5747-826E-B3F85106F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6"/>
            <a:ext cx="7171053" cy="641130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95E60C-2C3D-554A-89CB-0CB6B990E5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02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Title Slide_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E94F7AD-341D-204D-B18D-F9EFAFFE65D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</p:spPr>
        <p:txBody>
          <a:bodyPr anchor="ctr" anchorCtr="1"/>
          <a:lstStyle>
            <a:lvl1pPr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6"/>
            <a:ext cx="7171053" cy="585938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Welcom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C1C07C-E2AF-7D4A-8A85-3162E891D6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42" y="1281628"/>
            <a:ext cx="7170818" cy="2606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2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3120B70-091D-D442-9ACB-BF40FFB29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208" y="5688184"/>
            <a:ext cx="5242006" cy="780451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2464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Date]</a:t>
            </a:r>
            <a:br>
              <a:rPr lang="en-US"/>
            </a:br>
            <a:r>
              <a:rPr lang="en-US"/>
              <a:t>[Speaker]</a:t>
            </a:r>
          </a:p>
        </p:txBody>
      </p:sp>
    </p:spTree>
    <p:extLst>
      <p:ext uri="{BB962C8B-B14F-4D97-AF65-F5344CB8AC3E}">
        <p14:creationId xmlns:p14="http://schemas.microsoft.com/office/powerpoint/2010/main" val="1349027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.1_VA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95E60C-2C3D-554A-89CB-0CB6B990E5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54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.2_No VA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001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Title Slide_Exa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5">
            <a:extLst>
              <a:ext uri="{FF2B5EF4-FFF2-40B4-BE49-F238E27FC236}">
                <a16:creationId xmlns:a16="http://schemas.microsoft.com/office/drawing/2014/main" id="{8D9BF27E-9B17-424E-9985-1E812A122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8709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E29B88-2C9E-C24E-847F-7A1F5344CF64}"/>
              </a:ext>
            </a:extLst>
          </p:cNvPr>
          <p:cNvSpPr txBox="1"/>
          <p:nvPr userDrawn="1"/>
        </p:nvSpPr>
        <p:spPr>
          <a:xfrm>
            <a:off x="5163078" y="4059095"/>
            <a:ext cx="916668" cy="914400"/>
          </a:xfrm>
          <a:prstGeom prst="rect">
            <a:avLst/>
          </a:prstGeom>
          <a:ln>
            <a:noFill/>
          </a:ln>
        </p:spPr>
        <p:txBody>
          <a:bodyPr vert="horz" wrap="none" lIns="91666" tIns="45833" rIns="91666" bIns="45833" rtlCol="0" anchor="ctr">
            <a:normAutofit/>
          </a:bodyPr>
          <a:lstStyle/>
          <a:p>
            <a:endParaRPr lang="en-US" sz="1202" b="0" i="0" spc="50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714521-7EBD-A64A-86FE-3D3DEE788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07" y="489656"/>
            <a:ext cx="7171053" cy="585938"/>
          </a:xfrm>
          <a:prstGeom prst="rect">
            <a:avLst/>
          </a:prstGeom>
          <a:ln>
            <a:noFill/>
          </a:ln>
        </p:spPr>
        <p:txBody>
          <a:bodyPr lIns="0" anchor="t">
            <a:noAutofit/>
          </a:bodyPr>
          <a:lstStyle>
            <a:lvl1pPr algn="l">
              <a:lnSpc>
                <a:spcPct val="85000"/>
              </a:lnSpc>
              <a:defRPr sz="4561" b="0" i="0" spc="-100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Example title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C1C07C-E2AF-7D4A-8A85-3162E891D6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42" y="1281628"/>
            <a:ext cx="7170818" cy="2606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2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mages available from </a:t>
            </a:r>
            <a:r>
              <a:rPr lang="en-US" err="1"/>
              <a:t>brand.virginatlantic.com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3120B70-091D-D442-9ACB-BF40FFB29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208" y="5688184"/>
            <a:ext cx="5242006" cy="780451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2464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une 2020</a:t>
            </a:r>
            <a:br>
              <a:rPr lang="en-US"/>
            </a:br>
            <a:r>
              <a:rPr lang="en-US"/>
              <a:t>Brand Identity &amp; Creativ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9459E6-12B0-FA44-9F6B-4EEF5935B8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37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On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C1F383-E86A-4537-B3C4-E2962038C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7184864" cy="312952"/>
          </a:xfrm>
        </p:spPr>
        <p:txBody>
          <a:bodyPr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D6B526F-5910-6F40-9A0C-84594A95A7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5" y="1412877"/>
            <a:ext cx="10921601" cy="4432298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4B02407-4D5F-A248-BF10-09C3A167CD4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395" y="942974"/>
            <a:ext cx="7184863" cy="25532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23555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One Line Title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465F959C-4EC5-FC43-A538-323650C780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7184864" cy="312952"/>
          </a:xfrm>
        </p:spPr>
        <p:txBody>
          <a:bodyPr tIns="0" rIns="0" bIns="0" anchor="t"/>
          <a:lstStyle>
            <a:lvl1pPr>
              <a:defRPr/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FA3E3C35-67AB-C24B-85B7-4629089BC8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400" y="1412876"/>
            <a:ext cx="5255814" cy="4432298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444E1C6-7FD7-F148-8398-18185F3B7F0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395" y="942974"/>
            <a:ext cx="7184863" cy="25532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43392D6E-82FE-554E-8633-3862B142F9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8563" y="1412876"/>
            <a:ext cx="5276128" cy="4432298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263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_One Line Title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E32BA82E-35BE-D644-A750-1D93C6805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398" y="476250"/>
            <a:ext cx="7184864" cy="312952"/>
          </a:xfrm>
        </p:spPr>
        <p:txBody>
          <a:bodyPr tIns="0" rIns="0" bIns="0" anchor="t"/>
          <a:lstStyle>
            <a:lvl1pPr>
              <a:defRPr/>
            </a:lvl1pPr>
          </a:lstStyle>
          <a:p>
            <a:r>
              <a:rPr lang="en-US"/>
              <a:t>One line title</a:t>
            </a:r>
            <a:endParaRPr lang="en-GB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581BF0F5-40B2-7841-998F-41B5AF1386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400" y="1412875"/>
            <a:ext cx="3449238" cy="4432301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57E61D0E-00EA-B145-8968-04F19AD752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5395" y="942974"/>
            <a:ext cx="7184863" cy="255329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146610D7-CB9F-824F-AAB6-2A7F6208AE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71975" y="1412875"/>
            <a:ext cx="3448050" cy="44323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DBD94771-406F-D24E-92A1-92C286C37D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07362" y="1412875"/>
            <a:ext cx="3448050" cy="44323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600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_Two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C1F383-E86A-4537-B3C4-E2962038C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401" y="489651"/>
            <a:ext cx="7184861" cy="781677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054312-E698-4082-9750-D9603031D8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399" y="1844675"/>
            <a:ext cx="10921601" cy="40005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C3225C-D82D-9649-A26B-61FD7D22C22A}"/>
              </a:ext>
            </a:extLst>
          </p:cNvPr>
          <p:cNvSpPr txBox="1"/>
          <p:nvPr userDrawn="1"/>
        </p:nvSpPr>
        <p:spPr>
          <a:xfrm>
            <a:off x="1191491" y="242455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200" b="0" i="0" spc="5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8EBE5AB-EA51-0444-AC3F-6B1443960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1381541"/>
            <a:ext cx="7185025" cy="255329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25973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_Two Line Titl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C1F383-E86A-4537-B3C4-E2962038C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401" y="489652"/>
            <a:ext cx="7184861" cy="78344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Longest title in the world</a:t>
            </a:r>
            <a:br>
              <a:rPr lang="en-US"/>
            </a:br>
            <a:r>
              <a:rPr lang="en-US"/>
              <a:t>over two lines</a:t>
            </a:r>
            <a:endParaRPr lang="en-GB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FD8DA8EF-3BF9-584D-B4E5-D76B0E239D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7929" y="1844675"/>
            <a:ext cx="5293387" cy="4000499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EF4A0F88-9468-484C-96F4-095F34B5225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5400" y="1844675"/>
            <a:ext cx="5255814" cy="40005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 marL="204574" indent="-204574"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6CBE39B-5E71-7B48-8C3A-18956A038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5000" y="1381541"/>
            <a:ext cx="7185025" cy="255329"/>
          </a:xfrm>
          <a:prstGeom prst="rect">
            <a:avLst/>
          </a:prstGeom>
        </p:spPr>
        <p:txBody>
          <a:bodyPr lIns="0" anchor="ctr" anchorCtr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36191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163F7F-E1D1-4D2F-B575-5A915181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97" y="476250"/>
            <a:ext cx="10921206" cy="3435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02FD30-F079-4F8D-A579-31FF7493DF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400" y="1268414"/>
            <a:ext cx="10921207" cy="4657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Sub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2D5B73-0E8E-EB44-89CD-D5B511EA32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4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901" r:id="rId4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24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2200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10" orient="horz" pos="300" userDrawn="1">
          <p15:clr>
            <a:srgbClr val="F26B43"/>
          </p15:clr>
        </p15:guide>
        <p15:guide id="13" orient="horz" pos="981" userDrawn="1">
          <p15:clr>
            <a:srgbClr val="F26B43"/>
          </p15:clr>
        </p15:guide>
        <p15:guide id="14" orient="horz" pos="3861" userDrawn="1">
          <p15:clr>
            <a:srgbClr val="F26B43"/>
          </p15:clr>
        </p15:guide>
        <p15:guide id="15" orient="horz" pos="4012">
          <p15:clr>
            <a:srgbClr val="F26B43"/>
          </p15:clr>
        </p15:guide>
        <p15:guide id="18" orient="horz" pos="3612" userDrawn="1">
          <p15:clr>
            <a:srgbClr val="F26B43"/>
          </p15:clr>
        </p15:guide>
        <p15:guide id="19" orient="horz" pos="686" userDrawn="1">
          <p15:clr>
            <a:srgbClr val="F26B43"/>
          </p15:clr>
        </p15:guide>
        <p15:guide id="20" orient="horz" pos="7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163F7F-E1D1-4D2F-B575-5A915181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97" y="476250"/>
            <a:ext cx="10573640" cy="3968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27CA73-F17B-D447-A4DD-B8689EAAD65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943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912" r:id="rId7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24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1826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4" pos="3841">
          <p15:clr>
            <a:srgbClr val="F26B43"/>
          </p15:clr>
        </p15:guide>
        <p15:guide id="5" pos="2573">
          <p15:clr>
            <a:srgbClr val="F26B43"/>
          </p15:clr>
        </p15:guide>
        <p15:guide id="6" pos="2754">
          <p15:clr>
            <a:srgbClr val="F26B43"/>
          </p15:clr>
        </p15:guide>
        <p15:guide id="7" pos="4926">
          <p15:clr>
            <a:srgbClr val="F26B43"/>
          </p15:clr>
        </p15:guide>
        <p15:guide id="8" pos="5107">
          <p15:clr>
            <a:srgbClr val="F26B43"/>
          </p15:clr>
        </p15:guide>
        <p15:guide id="10" orient="horz" pos="300" userDrawn="1">
          <p15:clr>
            <a:srgbClr val="F26B43"/>
          </p15:clr>
        </p15:guide>
        <p15:guide id="13" orient="horz" pos="1003" userDrawn="1">
          <p15:clr>
            <a:srgbClr val="F26B43"/>
          </p15:clr>
        </p15:guide>
        <p15:guide id="14" orient="horz" pos="3847">
          <p15:clr>
            <a:srgbClr val="F26B43"/>
          </p15:clr>
        </p15:guide>
        <p15:guide id="15" orient="horz" pos="4012">
          <p15:clr>
            <a:srgbClr val="F26B43"/>
          </p15:clr>
        </p15:guide>
        <p15:guide id="16" pos="3955">
          <p15:clr>
            <a:srgbClr val="F26B43"/>
          </p15:clr>
        </p15:guide>
        <p15:guide id="17" pos="3711">
          <p15:clr>
            <a:srgbClr val="F26B43"/>
          </p15:clr>
        </p15:guide>
        <p15:guide id="18" orient="horz" pos="3682">
          <p15:clr>
            <a:srgbClr val="F26B43"/>
          </p15:clr>
        </p15:guide>
        <p15:guide id="19" orient="horz" pos="482" userDrawn="1">
          <p15:clr>
            <a:srgbClr val="F26B43"/>
          </p15:clr>
        </p15:guide>
        <p15:guide id="20" orient="horz" pos="890" userDrawn="1">
          <p15:clr>
            <a:srgbClr val="F26B43"/>
          </p15:clr>
        </p15:guide>
        <p15:guide id="21" orient="horz" pos="731" userDrawn="1">
          <p15:clr>
            <a:srgbClr val="F26B43"/>
          </p15:clr>
        </p15:guide>
        <p15:guide id="22" orient="horz" pos="11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D452FEC-CB81-1B43-9DA8-261FB1FFA54B}"/>
              </a:ext>
            </a:extLst>
          </p:cNvPr>
          <p:cNvSpPr txBox="1">
            <a:spLocks/>
          </p:cNvSpPr>
          <p:nvPr userDrawn="1"/>
        </p:nvSpPr>
        <p:spPr>
          <a:xfrm>
            <a:off x="649207" y="476250"/>
            <a:ext cx="10907793" cy="576264"/>
          </a:xfrm>
          <a:prstGeom prst="rect">
            <a:avLst/>
          </a:prstGeom>
          <a:ln>
            <a:noFill/>
          </a:ln>
        </p:spPr>
        <p:txBody>
          <a:bodyPr lIns="0" tIns="0" rIns="0" bIns="0" anchor="t">
            <a:noAutofit/>
          </a:bodyPr>
          <a:lstStyle>
            <a:lvl1pPr algn="l" defTabSz="4583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561" b="0" i="0" kern="1200" spc="0" baseline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pc="-100" baseline="0">
                <a:solidFill>
                  <a:schemeClr val="tx2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63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900" r:id="rId4"/>
    <p:sldLayoutId id="2147483902" r:id="rId5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45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1826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4" pos="3841">
          <p15:clr>
            <a:srgbClr val="F26B43"/>
          </p15:clr>
        </p15:guide>
        <p15:guide id="5" pos="2573">
          <p15:clr>
            <a:srgbClr val="F26B43"/>
          </p15:clr>
        </p15:guide>
        <p15:guide id="6" pos="2754">
          <p15:clr>
            <a:srgbClr val="F26B43"/>
          </p15:clr>
        </p15:guide>
        <p15:guide id="7" pos="4926">
          <p15:clr>
            <a:srgbClr val="F26B43"/>
          </p15:clr>
        </p15:guide>
        <p15:guide id="8" pos="5107">
          <p15:clr>
            <a:srgbClr val="F26B43"/>
          </p15:clr>
        </p15:guide>
        <p15:guide id="10" orient="horz" pos="300" userDrawn="1">
          <p15:clr>
            <a:srgbClr val="F26B43"/>
          </p15:clr>
        </p15:guide>
        <p15:guide id="16" pos="3955">
          <p15:clr>
            <a:srgbClr val="F26B43"/>
          </p15:clr>
        </p15:guide>
        <p15:guide id="17" pos="3711">
          <p15:clr>
            <a:srgbClr val="F26B43"/>
          </p15:clr>
        </p15:guide>
        <p15:guide id="19" orient="horz" pos="59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73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96" r:id="rId2"/>
    <p:sldLayoutId id="2147483897" r:id="rId3"/>
    <p:sldLayoutId id="2147483885" r:id="rId4"/>
    <p:sldLayoutId id="2147483888" r:id="rId5"/>
    <p:sldLayoutId id="2147483898" r:id="rId6"/>
    <p:sldLayoutId id="2147483889" r:id="rId7"/>
    <p:sldLayoutId id="2147483899" r:id="rId8"/>
    <p:sldLayoutId id="2147483905" r:id="rId9"/>
    <p:sldLayoutId id="2147483903" r:id="rId10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250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1826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4" pos="3841">
          <p15:clr>
            <a:srgbClr val="F26B43"/>
          </p15:clr>
        </p15:guide>
        <p15:guide id="10" orient="horz" pos="346" userDrawn="1">
          <p15:clr>
            <a:srgbClr val="F26B43"/>
          </p15:clr>
        </p15:guide>
        <p15:guide id="13" orient="horz" pos="822" userDrawn="1">
          <p15:clr>
            <a:srgbClr val="F26B43"/>
          </p15:clr>
        </p15:guide>
        <p15:guide id="14" orient="horz" pos="3847">
          <p15:clr>
            <a:srgbClr val="F26B43"/>
          </p15:clr>
        </p15:guide>
        <p15:guide id="15" orient="horz" pos="4012">
          <p15:clr>
            <a:srgbClr val="F26B43"/>
          </p15:clr>
        </p15:guide>
        <p15:guide id="16" pos="3955">
          <p15:clr>
            <a:srgbClr val="F26B43"/>
          </p15:clr>
        </p15:guide>
        <p15:guide id="17" pos="3711">
          <p15:clr>
            <a:srgbClr val="F26B43"/>
          </p15:clr>
        </p15:guide>
        <p15:guide id="18" orient="horz" pos="3682">
          <p15:clr>
            <a:srgbClr val="F26B43"/>
          </p15:clr>
        </p15:guide>
        <p15:guide id="19" orient="horz" pos="504" userDrawn="1">
          <p15:clr>
            <a:srgbClr val="F26B43"/>
          </p15:clr>
        </p15:guide>
        <p15:guide id="20" orient="horz" pos="777" userDrawn="1">
          <p15:clr>
            <a:srgbClr val="F26B43"/>
          </p15:clr>
        </p15:guide>
        <p15:guide id="21" orient="horz" pos="595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163F7F-E1D1-4D2F-B575-5A915181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96" y="489652"/>
            <a:ext cx="10921207" cy="4441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415C82-9C17-804C-9842-9460F3C931F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09018" y="6132355"/>
            <a:ext cx="1747585" cy="41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239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5" r:id="rId2"/>
    <p:sldLayoutId id="2147483904" r:id="rId3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2509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1826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4" pos="3841">
          <p15:clr>
            <a:srgbClr val="F26B43"/>
          </p15:clr>
        </p15:guide>
        <p15:guide id="5" pos="2573">
          <p15:clr>
            <a:srgbClr val="F26B43"/>
          </p15:clr>
        </p15:guide>
        <p15:guide id="6" pos="2754">
          <p15:clr>
            <a:srgbClr val="F26B43"/>
          </p15:clr>
        </p15:guide>
        <p15:guide id="7" pos="4926">
          <p15:clr>
            <a:srgbClr val="F26B43"/>
          </p15:clr>
        </p15:guide>
        <p15:guide id="8" pos="5110" userDrawn="1">
          <p15:clr>
            <a:srgbClr val="F26B43"/>
          </p15:clr>
        </p15:guide>
        <p15:guide id="10" orient="horz" pos="308">
          <p15:clr>
            <a:srgbClr val="F26B43"/>
          </p15:clr>
        </p15:guide>
        <p15:guide id="13" orient="horz" pos="1003">
          <p15:clr>
            <a:srgbClr val="F26B43"/>
          </p15:clr>
        </p15:guide>
        <p15:guide id="14" orient="horz" pos="3847">
          <p15:clr>
            <a:srgbClr val="F26B43"/>
          </p15:clr>
        </p15:guide>
        <p15:guide id="15" orient="horz" pos="4012">
          <p15:clr>
            <a:srgbClr val="F26B43"/>
          </p15:clr>
        </p15:guide>
        <p15:guide id="16" pos="3955">
          <p15:clr>
            <a:srgbClr val="F26B43"/>
          </p15:clr>
        </p15:guide>
        <p15:guide id="17" pos="3711">
          <p15:clr>
            <a:srgbClr val="F26B43"/>
          </p15:clr>
        </p15:guide>
        <p15:guide id="18" orient="horz" pos="368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0" orient="horz" pos="86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1734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</p:sldLayoutIdLst>
  <p:hf hdr="0" dt="0"/>
  <p:txStyles>
    <p:titleStyle>
      <a:lvl1pPr algn="l" defTabSz="458372" rtl="0" eaLnBrk="1" latinLnBrk="0" hangingPunct="1">
        <a:spcBef>
          <a:spcPct val="0"/>
        </a:spcBef>
        <a:buNone/>
        <a:defRPr sz="2509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8372" rtl="0" eaLnBrk="1" latinLnBrk="0" hangingPunct="1">
        <a:spcBef>
          <a:spcPts val="2053"/>
        </a:spcBef>
        <a:buFont typeface="Arial"/>
        <a:buNone/>
        <a:defRPr sz="1826" b="0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1pPr>
      <a:lvl2pPr marL="0" indent="0" algn="l" defTabSz="458372" rtl="0" eaLnBrk="1" latinLnBrk="0" hangingPunct="1">
        <a:lnSpc>
          <a:spcPct val="120000"/>
        </a:lnSpc>
        <a:spcBef>
          <a:spcPct val="20000"/>
        </a:spcBef>
        <a:buFontTx/>
        <a:buNone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2pPr>
      <a:lvl3pPr marL="204574" indent="-204574" algn="l" defTabSz="458372" rtl="0" eaLnBrk="1" latinLnBrk="0" hangingPunct="1">
        <a:lnSpc>
          <a:spcPct val="120000"/>
        </a:lnSpc>
        <a:spcBef>
          <a:spcPct val="20000"/>
        </a:spcBef>
        <a:buClr>
          <a:schemeClr val="tx1"/>
        </a:buClr>
        <a:buFont typeface="Arial"/>
        <a:buChar char="•"/>
        <a:defRPr sz="1368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3pPr>
      <a:lvl4pPr marL="0" indent="0" algn="l" defTabSz="458372" rtl="0" eaLnBrk="1" latinLnBrk="0" hangingPunct="1">
        <a:spcBef>
          <a:spcPts val="1368"/>
        </a:spcBef>
        <a:buFont typeface="Arial"/>
        <a:buNone/>
        <a:defRPr sz="1482" b="0" kern="1200" spc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458372" rtl="0" eaLnBrk="1" latinLnBrk="0" hangingPunct="1">
        <a:lnSpc>
          <a:spcPct val="120000"/>
        </a:lnSpc>
        <a:spcBef>
          <a:spcPts val="456"/>
        </a:spcBef>
        <a:spcAft>
          <a:spcPts val="456"/>
        </a:spcAft>
        <a:buFont typeface="Arial"/>
        <a:buNone/>
        <a:defRPr sz="1202" kern="1200" spc="0">
          <a:solidFill>
            <a:schemeClr val="accent3">
              <a:lumMod val="50000"/>
            </a:schemeClr>
          </a:solidFill>
          <a:latin typeface="+mj-lt"/>
          <a:ea typeface="+mn-ea"/>
          <a:cs typeface="+mn-cs"/>
        </a:defRPr>
      </a:lvl5pPr>
      <a:lvl6pPr marL="252103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6pPr>
      <a:lvl7pPr marL="297940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7pPr>
      <a:lvl8pPr marL="3437770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8pPr>
      <a:lvl9pPr marL="3896141" indent="-229184" algn="l" defTabSz="458372" rtl="0" eaLnBrk="1" latinLnBrk="0" hangingPunct="1">
        <a:spcBef>
          <a:spcPct val="20000"/>
        </a:spcBef>
        <a:buFont typeface="Arial"/>
        <a:buChar char="•"/>
        <a:defRPr sz="20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1pPr>
      <a:lvl2pPr marL="458372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2pPr>
      <a:lvl3pPr marL="916740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3pPr>
      <a:lvl4pPr marL="137510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4pPr>
      <a:lvl5pPr marL="183347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5pPr>
      <a:lvl6pPr marL="229184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750217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208586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666955" algn="l" defTabSz="458372" rtl="0" eaLnBrk="1" latinLnBrk="0" hangingPunct="1"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00">
          <p15:clr>
            <a:srgbClr val="F26B43"/>
          </p15:clr>
        </p15:guide>
        <p15:guide id="3" pos="7280">
          <p15:clr>
            <a:srgbClr val="F26B43"/>
          </p15:clr>
        </p15:guide>
        <p15:guide id="4" pos="3841">
          <p15:clr>
            <a:srgbClr val="F26B43"/>
          </p15:clr>
        </p15:guide>
        <p15:guide id="5" pos="2573">
          <p15:clr>
            <a:srgbClr val="F26B43"/>
          </p15:clr>
        </p15:guide>
        <p15:guide id="6" pos="2754">
          <p15:clr>
            <a:srgbClr val="F26B43"/>
          </p15:clr>
        </p15:guide>
        <p15:guide id="7" pos="4926">
          <p15:clr>
            <a:srgbClr val="F26B43"/>
          </p15:clr>
        </p15:guide>
        <p15:guide id="8" pos="5110">
          <p15:clr>
            <a:srgbClr val="F26B43"/>
          </p15:clr>
        </p15:guide>
        <p15:guide id="10" orient="horz" pos="308">
          <p15:clr>
            <a:srgbClr val="F26B43"/>
          </p15:clr>
        </p15:guide>
        <p15:guide id="13" orient="horz" pos="1003">
          <p15:clr>
            <a:srgbClr val="F26B43"/>
          </p15:clr>
        </p15:guide>
        <p15:guide id="14" orient="horz" pos="3847">
          <p15:clr>
            <a:srgbClr val="F26B43"/>
          </p15:clr>
        </p15:guide>
        <p15:guide id="15" orient="horz" pos="4012">
          <p15:clr>
            <a:srgbClr val="F26B43"/>
          </p15:clr>
        </p15:guide>
        <p15:guide id="16" pos="3955">
          <p15:clr>
            <a:srgbClr val="F26B43"/>
          </p15:clr>
        </p15:guide>
        <p15:guide id="17" pos="3711">
          <p15:clr>
            <a:srgbClr val="F26B43"/>
          </p15:clr>
        </p15:guide>
        <p15:guide id="18" orient="horz" pos="368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0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7" Type="http://schemas.openxmlformats.org/officeDocument/2006/relationships/image" Target="../media/image22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1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20641-D0BF-4047-A327-19DCFD37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909" y="231002"/>
            <a:ext cx="6054146" cy="1157774"/>
          </a:xfrm>
        </p:spPr>
        <p:txBody>
          <a:bodyPr wrap="square" anchor="ctr" anchorCtr="1">
            <a:noAutofit/>
          </a:bodyPr>
          <a:lstStyle/>
          <a:p>
            <a:r>
              <a:rPr lang="en-US" dirty="0"/>
              <a:t>EUC : Pillar of An IT 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F6901F-6FB4-4A2B-AE37-A0A2266164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9719" y="6139465"/>
            <a:ext cx="2586361" cy="487533"/>
          </a:xfrm>
        </p:spPr>
        <p:txBody>
          <a:bodyPr/>
          <a:lstStyle/>
          <a:p>
            <a:r>
              <a:rPr lang="en-US" dirty="0"/>
              <a:t>5</a:t>
            </a:r>
            <a:r>
              <a:rPr lang="en-US" baseline="30000" dirty="0"/>
              <a:t>th</a:t>
            </a:r>
            <a:r>
              <a:rPr lang="en-US" dirty="0"/>
              <a:t>Au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368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8EECD3-365E-40DE-9EF1-2C4C3AE7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09" y="176376"/>
            <a:ext cx="10573640" cy="396875"/>
          </a:xfrm>
        </p:spPr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293D66-5ECD-44C9-838C-9FD2AA912644}"/>
              </a:ext>
            </a:extLst>
          </p:cNvPr>
          <p:cNvSpPr txBox="1"/>
          <p:nvPr/>
        </p:nvSpPr>
        <p:spPr>
          <a:xfrm>
            <a:off x="592671" y="1843256"/>
            <a:ext cx="1588655" cy="3968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Team Introdu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865976-A5AB-4114-8062-D59B196A2BFB}"/>
              </a:ext>
            </a:extLst>
          </p:cNvPr>
          <p:cNvSpPr txBox="1"/>
          <p:nvPr/>
        </p:nvSpPr>
        <p:spPr>
          <a:xfrm>
            <a:off x="3487131" y="5193583"/>
            <a:ext cx="1348509" cy="3968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A day in life of team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2DA6B5-5836-4F73-9E4D-CBCEDF55293A}"/>
              </a:ext>
            </a:extLst>
          </p:cNvPr>
          <p:cNvSpPr txBox="1"/>
          <p:nvPr/>
        </p:nvSpPr>
        <p:spPr>
          <a:xfrm>
            <a:off x="6786037" y="1644819"/>
            <a:ext cx="1348509" cy="3968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Offshore Onsite Co-ordin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2AE485-653B-4612-A300-4674266D82E1}"/>
              </a:ext>
            </a:extLst>
          </p:cNvPr>
          <p:cNvSpPr txBox="1"/>
          <p:nvPr/>
        </p:nvSpPr>
        <p:spPr>
          <a:xfrm>
            <a:off x="9277167" y="5401257"/>
            <a:ext cx="1348509" cy="3968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Improvements &amp; Initiativ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C144B14-1EDF-4ACE-A9ED-EF933BB08B98}"/>
              </a:ext>
            </a:extLst>
          </p:cNvPr>
          <p:cNvSpPr/>
          <p:nvPr/>
        </p:nvSpPr>
        <p:spPr>
          <a:xfrm>
            <a:off x="0" y="3453597"/>
            <a:ext cx="12192000" cy="268370"/>
          </a:xfrm>
          <a:prstGeom prst="roundRect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43E02A0-861F-435E-A1F9-B87995D7A2D0}"/>
              </a:ext>
            </a:extLst>
          </p:cNvPr>
          <p:cNvSpPr/>
          <p:nvPr/>
        </p:nvSpPr>
        <p:spPr>
          <a:xfrm>
            <a:off x="592671" y="2084826"/>
            <a:ext cx="1380074" cy="1359893"/>
          </a:xfrm>
          <a:prstGeom prst="ellips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C953E8-F692-49A1-843E-CCEF14666FC5}"/>
              </a:ext>
            </a:extLst>
          </p:cNvPr>
          <p:cNvSpPr/>
          <p:nvPr/>
        </p:nvSpPr>
        <p:spPr>
          <a:xfrm>
            <a:off x="1076459" y="3434840"/>
            <a:ext cx="369455" cy="29168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AF6E297-0670-4904-926B-F03435D34326}"/>
              </a:ext>
            </a:extLst>
          </p:cNvPr>
          <p:cNvSpPr/>
          <p:nvPr/>
        </p:nvSpPr>
        <p:spPr>
          <a:xfrm>
            <a:off x="3367058" y="3735407"/>
            <a:ext cx="1380074" cy="1359893"/>
          </a:xfrm>
          <a:prstGeom prst="ellipse">
            <a:avLst/>
          </a:prstGeom>
          <a:noFill/>
          <a:ln w="50800" cap="flat" cmpd="sng" algn="ctr">
            <a:solidFill>
              <a:schemeClr val="accent2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2CE5F3-93E4-4F8E-A3D9-7450882EE579}"/>
              </a:ext>
            </a:extLst>
          </p:cNvPr>
          <p:cNvSpPr/>
          <p:nvPr/>
        </p:nvSpPr>
        <p:spPr>
          <a:xfrm>
            <a:off x="3875417" y="3448750"/>
            <a:ext cx="369455" cy="29168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E76052F-DE9B-4737-961A-882DE7639CDD}"/>
              </a:ext>
            </a:extLst>
          </p:cNvPr>
          <p:cNvSpPr/>
          <p:nvPr/>
        </p:nvSpPr>
        <p:spPr>
          <a:xfrm>
            <a:off x="6731780" y="2084826"/>
            <a:ext cx="1380074" cy="1359893"/>
          </a:xfrm>
          <a:prstGeom prst="ellips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8FF89C-8772-43B2-BF13-FDDE816C9B58}"/>
              </a:ext>
            </a:extLst>
          </p:cNvPr>
          <p:cNvSpPr/>
          <p:nvPr/>
        </p:nvSpPr>
        <p:spPr>
          <a:xfrm>
            <a:off x="7215568" y="3443718"/>
            <a:ext cx="369455" cy="29168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5E73886D-5134-4DE2-BAED-57D9D32F9308}"/>
              </a:ext>
            </a:extLst>
          </p:cNvPr>
          <p:cNvSpPr/>
          <p:nvPr/>
        </p:nvSpPr>
        <p:spPr>
          <a:xfrm>
            <a:off x="9159397" y="3996616"/>
            <a:ext cx="1380074" cy="1359893"/>
          </a:xfrm>
          <a:prstGeom prst="ellipse">
            <a:avLst/>
          </a:prstGeom>
          <a:noFill/>
          <a:ln w="50800" cap="flat" cmpd="sng" algn="ctr">
            <a:solidFill>
              <a:schemeClr val="accent2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51E12D7-762E-4BD3-A666-57DAF45B6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799" y="2409736"/>
            <a:ext cx="673817" cy="673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">
            <a:extLst>
              <a:ext uri="{FF2B5EF4-FFF2-40B4-BE49-F238E27FC236}">
                <a16:creationId xmlns:a16="http://schemas.microsoft.com/office/drawing/2014/main" id="{F058AFE0-63E9-437E-974A-C6634DC39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2400" y="2387514"/>
            <a:ext cx="655782" cy="65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Meeting free icon">
            <a:extLst>
              <a:ext uri="{FF2B5EF4-FFF2-40B4-BE49-F238E27FC236}">
                <a16:creationId xmlns:a16="http://schemas.microsoft.com/office/drawing/2014/main" id="{0A427B1E-17BD-4320-B01A-4565EEA70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498" y="4177178"/>
            <a:ext cx="561194" cy="56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31CF598-B05B-49DF-9A77-ADFD60083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63764" y="4296109"/>
            <a:ext cx="943172" cy="785751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7CAE10BB-ABDB-4CC1-B071-834050928DDD}"/>
              </a:ext>
            </a:extLst>
          </p:cNvPr>
          <p:cNvSpPr/>
          <p:nvPr/>
        </p:nvSpPr>
        <p:spPr>
          <a:xfrm>
            <a:off x="9664707" y="3713447"/>
            <a:ext cx="369455" cy="2916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962704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82EE1B-315A-4BDB-95F6-76152301D9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626" y="807899"/>
            <a:ext cx="1559679" cy="119031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CD8A15C-9FA4-4254-9BA9-DD97219ABE28}"/>
              </a:ext>
            </a:extLst>
          </p:cNvPr>
          <p:cNvSpPr txBox="1"/>
          <p:nvPr/>
        </p:nvSpPr>
        <p:spPr>
          <a:xfrm>
            <a:off x="4633993" y="2123268"/>
            <a:ext cx="2076773" cy="5734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US" sz="1400" b="0" i="0" spc="0" dirty="0">
                <a:solidFill>
                  <a:schemeClr val="accent3">
                    <a:lumMod val="50000"/>
                  </a:schemeClr>
                </a:solidFill>
              </a:rPr>
              <a:t>Smita Singh</a:t>
            </a:r>
          </a:p>
          <a:p>
            <a:pPr algn="ctr"/>
            <a:r>
              <a:rPr lang="en-US" sz="1400" b="0" i="0" spc="0" dirty="0">
                <a:solidFill>
                  <a:schemeClr val="accent3">
                    <a:lumMod val="50000"/>
                  </a:schemeClr>
                </a:solidFill>
              </a:rPr>
              <a:t> An Optimist Leader </a:t>
            </a:r>
            <a:endParaRPr lang="en-GB" sz="1400" b="0" i="0" spc="0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57B0EA-B865-48D6-BC79-D1A65AE688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542" y="2486688"/>
            <a:ext cx="1389278" cy="13339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703A123-0A59-4A8E-861D-601C89224994}"/>
              </a:ext>
            </a:extLst>
          </p:cNvPr>
          <p:cNvSpPr/>
          <p:nvPr/>
        </p:nvSpPr>
        <p:spPr>
          <a:xfrm>
            <a:off x="253542" y="4030633"/>
            <a:ext cx="227268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upa Mallik: Tech Savvy</a:t>
            </a:r>
          </a:p>
          <a:p>
            <a:r>
              <a: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cepoint $ SCCM Expert   </a:t>
            </a:r>
            <a:endParaRPr lang="en-US" sz="1400" b="1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477321-D850-4A65-BDEB-87D13F0E2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1939" y="920657"/>
            <a:ext cx="1781314" cy="120261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F81B2CC-C9E8-4719-82F8-8EF49C6B3593}"/>
              </a:ext>
            </a:extLst>
          </p:cNvPr>
          <p:cNvSpPr/>
          <p:nvPr/>
        </p:nvSpPr>
        <p:spPr>
          <a:xfrm>
            <a:off x="0" y="0"/>
            <a:ext cx="3735092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3600" b="1" i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EUC Warriors </a:t>
            </a:r>
            <a:endParaRPr lang="en-GB" sz="3600" b="1" i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178F58-1B57-4326-81BC-B3EF56C5A125}"/>
              </a:ext>
            </a:extLst>
          </p:cNvPr>
          <p:cNvSpPr txBox="1"/>
          <p:nvPr/>
        </p:nvSpPr>
        <p:spPr>
          <a:xfrm>
            <a:off x="1906291" y="5749870"/>
            <a:ext cx="2727701" cy="79041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 lnSpcReduction="10000"/>
          </a:bodyPr>
          <a:lstStyle/>
          <a:p>
            <a:pPr algn="l"/>
            <a:endParaRPr lang="en-US" sz="1400" b="0" i="0" spc="0" dirty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en-US" sz="1400" b="0" i="0" spc="0" dirty="0">
                <a:solidFill>
                  <a:schemeClr val="accent3">
                    <a:lumMod val="50000"/>
                  </a:schemeClr>
                </a:solidFill>
              </a:rPr>
              <a:t> Rahul Singh: An all rounder with an expertise in Citrix and Antivirus.</a:t>
            </a:r>
            <a:endParaRPr lang="en-GB" sz="1400" b="0" i="0" spc="0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30CB560-F1E7-4661-B085-E49A07B739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3918" y="3191350"/>
            <a:ext cx="2424146" cy="188831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2032E4B-FC4D-4934-B2D8-1FE61BB303AB}"/>
              </a:ext>
            </a:extLst>
          </p:cNvPr>
          <p:cNvSpPr txBox="1"/>
          <p:nvPr/>
        </p:nvSpPr>
        <p:spPr>
          <a:xfrm>
            <a:off x="4633993" y="3336672"/>
            <a:ext cx="1720312" cy="693962"/>
          </a:xfrm>
          <a:prstGeom prst="rect">
            <a:avLst/>
          </a:prstGeom>
          <a:ln>
            <a:noFill/>
          </a:ln>
          <a:effectLst>
            <a:softEdge rad="609600"/>
          </a:effectLst>
        </p:spPr>
        <p:txBody>
          <a:bodyPr vert="horz" wrap="square" lIns="0" tIns="0" rIns="0" bIns="0" rtlCol="0" anchor="t">
            <a:noAutofit/>
          </a:bodyPr>
          <a:lstStyle/>
          <a:p>
            <a:pPr algn="l"/>
            <a:endParaRPr lang="en-GB" sz="1600" b="1" i="1" spc="0" dirty="0" err="1">
              <a:solidFill>
                <a:srgbClr val="DA0030"/>
              </a:solidFill>
              <a:latin typeface="Arial Rounded MT Bold" panose="020F0704030504030204" pitchFamily="34" charset="0"/>
              <a:cs typeface="Aharoni" panose="02010803020104030203" pitchFamily="2" charset="-79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F28E5E-7A0B-43C0-9CB5-BD0D9374E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6224" y="4285198"/>
            <a:ext cx="1394848" cy="157894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1C925AF-2886-4BC1-8BE7-0C90502D3D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43428" y="3554770"/>
            <a:ext cx="1258511" cy="155572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29B538A-E7AB-4C55-A385-686963ADD03C}"/>
              </a:ext>
            </a:extLst>
          </p:cNvPr>
          <p:cNvSpPr txBox="1"/>
          <p:nvPr/>
        </p:nvSpPr>
        <p:spPr>
          <a:xfrm>
            <a:off x="8516165" y="5382514"/>
            <a:ext cx="2456635" cy="5068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en-US" sz="1400" b="0" i="0" spc="0" dirty="0">
                <a:solidFill>
                  <a:schemeClr val="accent3">
                    <a:lumMod val="50000"/>
                  </a:schemeClr>
                </a:solidFill>
              </a:rPr>
              <a:t>Vivek Bansal: </a:t>
            </a:r>
            <a:endParaRPr lang="en-GB" sz="1400" b="0" i="0" spc="0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40D310-30BC-4285-9E82-C35A9B18E8BA}"/>
              </a:ext>
            </a:extLst>
          </p:cNvPr>
          <p:cNvSpPr txBox="1"/>
          <p:nvPr/>
        </p:nvSpPr>
        <p:spPr>
          <a:xfrm>
            <a:off x="9701939" y="2486688"/>
            <a:ext cx="2490061" cy="7046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Ashutosh Singh: A Challenger Citrix  and Antivirus Expert  </a:t>
            </a:r>
            <a:endParaRPr lang="en-GB" sz="1200" dirty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endParaRPr lang="en-GB" sz="1200" b="0" i="0" spc="0" dirty="0" err="1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230480"/>
      </p:ext>
    </p:extLst>
  </p:cSld>
  <p:clrMapOvr>
    <a:masterClrMapping/>
  </p:clrMapOvr>
  <p:transition spd="slow">
    <p:strips dir="r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lowchart: Terminator 21">
            <a:extLst>
              <a:ext uri="{FF2B5EF4-FFF2-40B4-BE49-F238E27FC236}">
                <a16:creationId xmlns:a16="http://schemas.microsoft.com/office/drawing/2014/main" id="{8E4D4626-F560-216E-8CCE-CFA926C5427A}"/>
              </a:ext>
            </a:extLst>
          </p:cNvPr>
          <p:cNvSpPr/>
          <p:nvPr/>
        </p:nvSpPr>
        <p:spPr>
          <a:xfrm>
            <a:off x="6609611" y="297189"/>
            <a:ext cx="3439038" cy="757712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/>
            <a:r>
              <a:rPr lang="en-US" sz="1600" b="1" dirty="0">
                <a:solidFill>
                  <a:schemeClr val="tx1"/>
                </a:solidFill>
              </a:rPr>
              <a:t>Rupa Malik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Tech Savvy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Forcepoint $ SCCM Expert </a:t>
            </a:r>
            <a:endParaRPr lang="en-IN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B462AF-5175-5848-F419-A197565C60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7736" y="2573317"/>
            <a:ext cx="2242422" cy="1711366"/>
          </a:xfrm>
          <a:prstGeom prst="ellipse">
            <a:avLst/>
          </a:prstGeom>
          <a:ln>
            <a:solidFill>
              <a:srgbClr val="EA6658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4" name="Arc 3">
            <a:extLst>
              <a:ext uri="{FF2B5EF4-FFF2-40B4-BE49-F238E27FC236}">
                <a16:creationId xmlns:a16="http://schemas.microsoft.com/office/drawing/2014/main" id="{8A384DA6-CFA7-9111-9EEF-A2320FD556CB}"/>
              </a:ext>
            </a:extLst>
          </p:cNvPr>
          <p:cNvSpPr/>
          <p:nvPr/>
        </p:nvSpPr>
        <p:spPr>
          <a:xfrm>
            <a:off x="522514" y="2006081"/>
            <a:ext cx="3470988" cy="2845837"/>
          </a:xfrm>
          <a:prstGeom prst="arc">
            <a:avLst>
              <a:gd name="adj1" fmla="val 16200000"/>
              <a:gd name="adj2" fmla="val 5370792"/>
            </a:avLst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4EE966-051D-73D9-33DC-13DB1ECC135F}"/>
              </a:ext>
            </a:extLst>
          </p:cNvPr>
          <p:cNvSpPr/>
          <p:nvPr/>
        </p:nvSpPr>
        <p:spPr>
          <a:xfrm flipH="1">
            <a:off x="2199691" y="1963611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7D6604A-E66B-5696-0FED-424012792992}"/>
              </a:ext>
            </a:extLst>
          </p:cNvPr>
          <p:cNvSpPr/>
          <p:nvPr/>
        </p:nvSpPr>
        <p:spPr>
          <a:xfrm flipH="1">
            <a:off x="2199691" y="4809448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19DCD5-CB4C-4CE8-B79A-84352F7BDC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000" b="17000"/>
          <a:stretch/>
        </p:blipFill>
        <p:spPr>
          <a:xfrm>
            <a:off x="6529876" y="297189"/>
            <a:ext cx="1200539" cy="757712"/>
          </a:xfrm>
          <a:prstGeom prst="ellipse">
            <a:avLst/>
          </a:prstGeom>
          <a:ln>
            <a:solidFill>
              <a:srgbClr val="92D05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AEB172E-A645-D67F-9518-F944FA90A63B}"/>
              </a:ext>
            </a:extLst>
          </p:cNvPr>
          <p:cNvSpPr/>
          <p:nvPr/>
        </p:nvSpPr>
        <p:spPr>
          <a:xfrm>
            <a:off x="2967700" y="799385"/>
            <a:ext cx="2965438" cy="1276281"/>
          </a:xfrm>
          <a:custGeom>
            <a:avLst/>
            <a:gdLst>
              <a:gd name="connsiteX0" fmla="*/ 0 w 2965438"/>
              <a:gd name="connsiteY0" fmla="*/ 1276281 h 1276281"/>
              <a:gd name="connsiteX1" fmla="*/ 839755 w 2965438"/>
              <a:gd name="connsiteY1" fmla="*/ 212591 h 1276281"/>
              <a:gd name="connsiteX2" fmla="*/ 2752531 w 2965438"/>
              <a:gd name="connsiteY2" fmla="*/ 7318 h 1276281"/>
              <a:gd name="connsiteX3" fmla="*/ 2920482 w 2965438"/>
              <a:gd name="connsiteY3" fmla="*/ 343220 h 1276281"/>
              <a:gd name="connsiteX4" fmla="*/ 2771192 w 2965438"/>
              <a:gd name="connsiteY4" fmla="*/ 35310 h 1276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65438" h="1276281">
                <a:moveTo>
                  <a:pt x="0" y="1276281"/>
                </a:moveTo>
                <a:cubicBezTo>
                  <a:pt x="190500" y="850183"/>
                  <a:pt x="381000" y="424085"/>
                  <a:pt x="839755" y="212591"/>
                </a:cubicBezTo>
                <a:cubicBezTo>
                  <a:pt x="1298510" y="1097"/>
                  <a:pt x="2405743" y="-14454"/>
                  <a:pt x="2752531" y="7318"/>
                </a:cubicBezTo>
                <a:cubicBezTo>
                  <a:pt x="3099319" y="29089"/>
                  <a:pt x="2917372" y="338555"/>
                  <a:pt x="2920482" y="343220"/>
                </a:cubicBezTo>
                <a:cubicBezTo>
                  <a:pt x="2923592" y="347885"/>
                  <a:pt x="2847392" y="191597"/>
                  <a:pt x="2771192" y="35310"/>
                </a:cubicBezTo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849D62-AA0D-046D-DFDE-F90A46D44C06}"/>
              </a:ext>
            </a:extLst>
          </p:cNvPr>
          <p:cNvCxnSpPr>
            <a:cxnSpLocks/>
          </p:cNvCxnSpPr>
          <p:nvPr/>
        </p:nvCxnSpPr>
        <p:spPr>
          <a:xfrm flipV="1">
            <a:off x="2887965" y="685404"/>
            <a:ext cx="1113948" cy="1398219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4E4A943-A0DD-743A-E79F-BD4CA54E1A95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3993502" y="676045"/>
            <a:ext cx="2536374" cy="9359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Flowchart: Terminator 22">
            <a:extLst>
              <a:ext uri="{FF2B5EF4-FFF2-40B4-BE49-F238E27FC236}">
                <a16:creationId xmlns:a16="http://schemas.microsoft.com/office/drawing/2014/main" id="{CCFC0A28-AB9E-CF6E-5964-301D77219633}"/>
              </a:ext>
            </a:extLst>
          </p:cNvPr>
          <p:cNvSpPr/>
          <p:nvPr/>
        </p:nvSpPr>
        <p:spPr>
          <a:xfrm>
            <a:off x="6689346" y="1373937"/>
            <a:ext cx="3439038" cy="757712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/>
            <a:endParaRPr lang="en-US" sz="1600" b="1" dirty="0">
              <a:solidFill>
                <a:schemeClr val="tx1"/>
              </a:solidFill>
            </a:endParaRPr>
          </a:p>
          <a:p>
            <a:pPr lvl="2"/>
            <a:r>
              <a:rPr lang="en-US" sz="1600" b="1" dirty="0">
                <a:solidFill>
                  <a:schemeClr val="tx1"/>
                </a:solidFill>
              </a:rPr>
              <a:t>Anjali Gupta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Tech Savvy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Forcepoint $ SCCM Expert </a:t>
            </a:r>
            <a:endParaRPr lang="en-IN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endParaRPr lang="en-IN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74861B-4B49-E7D9-18DB-C1EE6BD9737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1459"/>
          <a:stretch/>
        </p:blipFill>
        <p:spPr>
          <a:xfrm>
            <a:off x="6609611" y="1373937"/>
            <a:ext cx="1200539" cy="757712"/>
          </a:xfrm>
          <a:prstGeom prst="ellipse">
            <a:avLst/>
          </a:prstGeom>
          <a:ln>
            <a:solidFill>
              <a:srgbClr val="FFFF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E903E65C-F96B-EA57-3382-652402DC0090}"/>
              </a:ext>
            </a:extLst>
          </p:cNvPr>
          <p:cNvSpPr/>
          <p:nvPr/>
        </p:nvSpPr>
        <p:spPr>
          <a:xfrm>
            <a:off x="7151640" y="2415226"/>
            <a:ext cx="3050688" cy="829746"/>
          </a:xfrm>
          <a:prstGeom prst="flowChartTerminator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en-US" sz="1600" b="1" dirty="0">
                <a:solidFill>
                  <a:schemeClr val="tx1"/>
                </a:solidFill>
              </a:rPr>
              <a:t>Ashutosh Singh</a:t>
            </a:r>
          </a:p>
          <a:p>
            <a:pPr lvl="1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A Challenger Citrix  and Antivirus Expert </a:t>
            </a:r>
            <a:endParaRPr lang="en-IN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830BC4F-B038-0C94-3A3B-8CF7FF0A71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1459"/>
          <a:stretch/>
        </p:blipFill>
        <p:spPr>
          <a:xfrm>
            <a:off x="6592503" y="2445514"/>
            <a:ext cx="1200539" cy="803456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27" name="Flowchart: Terminator 26">
            <a:extLst>
              <a:ext uri="{FF2B5EF4-FFF2-40B4-BE49-F238E27FC236}">
                <a16:creationId xmlns:a16="http://schemas.microsoft.com/office/drawing/2014/main" id="{D07D87B3-E0EC-D701-9B5B-949532903E2C}"/>
              </a:ext>
            </a:extLst>
          </p:cNvPr>
          <p:cNvSpPr/>
          <p:nvPr/>
        </p:nvSpPr>
        <p:spPr>
          <a:xfrm>
            <a:off x="6769081" y="5832553"/>
            <a:ext cx="3439038" cy="757712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EA6658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/>
            <a:r>
              <a:rPr lang="en-US" sz="1600" b="1" dirty="0">
                <a:solidFill>
                  <a:schemeClr val="tx1"/>
                </a:solidFill>
              </a:rPr>
              <a:t>Ravi Dev Pal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An all rounder with an expertise in Citrix.</a:t>
            </a:r>
            <a:endParaRPr lang="en-IN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58BCE0F-B674-44BD-E9F2-D156EC2AC0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1459"/>
          <a:stretch/>
        </p:blipFill>
        <p:spPr>
          <a:xfrm>
            <a:off x="6689346" y="5832553"/>
            <a:ext cx="1200539" cy="757712"/>
          </a:xfrm>
          <a:prstGeom prst="ellipse">
            <a:avLst/>
          </a:prstGeom>
          <a:ln>
            <a:solidFill>
              <a:srgbClr val="EA6658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29" name="Flowchart: Terminator 28">
            <a:extLst>
              <a:ext uri="{FF2B5EF4-FFF2-40B4-BE49-F238E27FC236}">
                <a16:creationId xmlns:a16="http://schemas.microsoft.com/office/drawing/2014/main" id="{EB9CE549-3A6E-078C-718C-ED02F9B5CC0C}"/>
              </a:ext>
            </a:extLst>
          </p:cNvPr>
          <p:cNvSpPr/>
          <p:nvPr/>
        </p:nvSpPr>
        <p:spPr>
          <a:xfrm>
            <a:off x="6769081" y="4637338"/>
            <a:ext cx="3439038" cy="919874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FFD347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/>
            <a:r>
              <a:rPr lang="en-US" sz="1600" b="1" dirty="0">
                <a:solidFill>
                  <a:schemeClr val="tx1"/>
                </a:solidFill>
              </a:rPr>
              <a:t>Vivek Bansal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An all rounder with an expertise in Citrix.</a:t>
            </a:r>
            <a:endParaRPr lang="en-IN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12C0ED5-4D18-5018-5BCC-AC71019E51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658" b="24476"/>
          <a:stretch/>
        </p:blipFill>
        <p:spPr>
          <a:xfrm>
            <a:off x="6660360" y="4620173"/>
            <a:ext cx="1048622" cy="987690"/>
          </a:xfrm>
          <a:prstGeom prst="ellipse">
            <a:avLst/>
          </a:prstGeom>
          <a:ln>
            <a:solidFill>
              <a:srgbClr val="FFD34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31" name="Flowchart: Terminator 30">
            <a:extLst>
              <a:ext uri="{FF2B5EF4-FFF2-40B4-BE49-F238E27FC236}">
                <a16:creationId xmlns:a16="http://schemas.microsoft.com/office/drawing/2014/main" id="{3BC09F41-A660-BCCF-1937-F64B963E4DC7}"/>
              </a:ext>
            </a:extLst>
          </p:cNvPr>
          <p:cNvSpPr/>
          <p:nvPr/>
        </p:nvSpPr>
        <p:spPr>
          <a:xfrm>
            <a:off x="6689346" y="3543425"/>
            <a:ext cx="3512982" cy="817532"/>
          </a:xfrm>
          <a:prstGeom prst="flowChartTerminator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/>
            <a:r>
              <a:rPr lang="en-US" sz="1600" b="1" dirty="0">
                <a:solidFill>
                  <a:schemeClr val="tx1"/>
                </a:solidFill>
              </a:rPr>
              <a:t>Rahul Singh</a:t>
            </a:r>
          </a:p>
          <a:p>
            <a:pPr lvl="2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An all rounder with an expertise in Citrix and Antivirus.</a:t>
            </a:r>
            <a:endParaRPr lang="en-IN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288D1BC-FFA7-BACC-11E4-82A1404970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43" b="22237"/>
          <a:stretch/>
        </p:blipFill>
        <p:spPr>
          <a:xfrm>
            <a:off x="6648633" y="3467231"/>
            <a:ext cx="1120964" cy="987690"/>
          </a:xfrm>
          <a:prstGeom prst="ellips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BD66E3C-725F-9FA8-8640-C98DB99CD419}"/>
              </a:ext>
            </a:extLst>
          </p:cNvPr>
          <p:cNvCxnSpPr>
            <a:cxnSpLocks/>
          </p:cNvCxnSpPr>
          <p:nvPr/>
        </p:nvCxnSpPr>
        <p:spPr>
          <a:xfrm flipV="1">
            <a:off x="3516263" y="1797269"/>
            <a:ext cx="556974" cy="629276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D7D2450-F7D7-134B-B9CB-675D144C2B4E}"/>
              </a:ext>
            </a:extLst>
          </p:cNvPr>
          <p:cNvCxnSpPr>
            <a:cxnSpLocks/>
          </p:cNvCxnSpPr>
          <p:nvPr/>
        </p:nvCxnSpPr>
        <p:spPr>
          <a:xfrm>
            <a:off x="4081648" y="1787981"/>
            <a:ext cx="2448228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5BF2C97-9D7A-A6EA-E653-017A13D6AAB4}"/>
              </a:ext>
            </a:extLst>
          </p:cNvPr>
          <p:cNvCxnSpPr>
            <a:cxnSpLocks/>
          </p:cNvCxnSpPr>
          <p:nvPr/>
        </p:nvCxnSpPr>
        <p:spPr>
          <a:xfrm>
            <a:off x="3918857" y="2874860"/>
            <a:ext cx="2481942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11C0835-BDFD-F808-3594-7D9A1D950C62}"/>
              </a:ext>
            </a:extLst>
          </p:cNvPr>
          <p:cNvCxnSpPr>
            <a:cxnSpLocks/>
          </p:cNvCxnSpPr>
          <p:nvPr/>
        </p:nvCxnSpPr>
        <p:spPr>
          <a:xfrm flipV="1">
            <a:off x="4982547" y="3961739"/>
            <a:ext cx="1547329" cy="20362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18732DB-3818-D2A0-7861-3F84DA6B0127}"/>
              </a:ext>
            </a:extLst>
          </p:cNvPr>
          <p:cNvCxnSpPr>
            <a:cxnSpLocks/>
          </p:cNvCxnSpPr>
          <p:nvPr/>
        </p:nvCxnSpPr>
        <p:spPr>
          <a:xfrm>
            <a:off x="4001913" y="3603245"/>
            <a:ext cx="980634" cy="378856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4BE5CC1-5F8B-22E3-2CC7-EAB9EDCA6257}"/>
              </a:ext>
            </a:extLst>
          </p:cNvPr>
          <p:cNvCxnSpPr>
            <a:cxnSpLocks/>
          </p:cNvCxnSpPr>
          <p:nvPr/>
        </p:nvCxnSpPr>
        <p:spPr>
          <a:xfrm>
            <a:off x="3794750" y="4161453"/>
            <a:ext cx="1137683" cy="899277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0CD6BA1-F315-51B5-0722-C10170702DDF}"/>
              </a:ext>
            </a:extLst>
          </p:cNvPr>
          <p:cNvCxnSpPr>
            <a:cxnSpLocks/>
          </p:cNvCxnSpPr>
          <p:nvPr/>
        </p:nvCxnSpPr>
        <p:spPr>
          <a:xfrm flipV="1">
            <a:off x="4954026" y="5046700"/>
            <a:ext cx="1547329" cy="20362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CD2B71A-E49A-A966-E195-25190661D700}"/>
              </a:ext>
            </a:extLst>
          </p:cNvPr>
          <p:cNvCxnSpPr>
            <a:cxnSpLocks/>
          </p:cNvCxnSpPr>
          <p:nvPr/>
        </p:nvCxnSpPr>
        <p:spPr>
          <a:xfrm>
            <a:off x="3119557" y="4722278"/>
            <a:ext cx="1438537" cy="1416232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65E5614-020B-7139-0BC2-7E6F4A84EA1F}"/>
              </a:ext>
            </a:extLst>
          </p:cNvPr>
          <p:cNvCxnSpPr>
            <a:cxnSpLocks/>
          </p:cNvCxnSpPr>
          <p:nvPr/>
        </p:nvCxnSpPr>
        <p:spPr>
          <a:xfrm>
            <a:off x="4573584" y="6155858"/>
            <a:ext cx="2018919" cy="35189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12D6588A-5C1A-41E6-17BA-DED382453D1E}"/>
              </a:ext>
            </a:extLst>
          </p:cNvPr>
          <p:cNvSpPr/>
          <p:nvPr/>
        </p:nvSpPr>
        <p:spPr>
          <a:xfrm flipH="1">
            <a:off x="2808230" y="2060619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5283E94-972C-25FE-3D41-8513F56095A3}"/>
              </a:ext>
            </a:extLst>
          </p:cNvPr>
          <p:cNvSpPr/>
          <p:nvPr/>
        </p:nvSpPr>
        <p:spPr>
          <a:xfrm flipH="1">
            <a:off x="3444939" y="2405310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9E9D1A2-DA7D-7AEC-1B95-D7F8D5E285D0}"/>
              </a:ext>
            </a:extLst>
          </p:cNvPr>
          <p:cNvSpPr/>
          <p:nvPr/>
        </p:nvSpPr>
        <p:spPr>
          <a:xfrm flipH="1">
            <a:off x="3816853" y="2846699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E3E73FDC-D343-2274-330F-742EC1825187}"/>
              </a:ext>
            </a:extLst>
          </p:cNvPr>
          <p:cNvSpPr/>
          <p:nvPr/>
        </p:nvSpPr>
        <p:spPr>
          <a:xfrm flipH="1">
            <a:off x="3918857" y="3560775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2BFC19D5-030C-7CA0-4447-3A84A00ED65B}"/>
              </a:ext>
            </a:extLst>
          </p:cNvPr>
          <p:cNvSpPr/>
          <p:nvPr/>
        </p:nvSpPr>
        <p:spPr>
          <a:xfrm flipH="1">
            <a:off x="3722192" y="4095865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54A33EA7-D6B7-79A9-D053-A88AACDBCE26}"/>
              </a:ext>
            </a:extLst>
          </p:cNvPr>
          <p:cNvSpPr/>
          <p:nvPr/>
        </p:nvSpPr>
        <p:spPr>
          <a:xfrm flipH="1">
            <a:off x="3023918" y="4637338"/>
            <a:ext cx="116633" cy="849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228B8B1-5690-9631-D1D8-7940E6804EC7}"/>
              </a:ext>
            </a:extLst>
          </p:cNvPr>
          <p:cNvSpPr txBox="1"/>
          <p:nvPr/>
        </p:nvSpPr>
        <p:spPr>
          <a:xfrm>
            <a:off x="540251" y="5224110"/>
            <a:ext cx="2437056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rmAutofit/>
          </a:bodyPr>
          <a:lstStyle/>
          <a:p>
            <a:pPr algn="l"/>
            <a:endParaRPr lang="en-IN" sz="1200" b="0" i="0" spc="0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DD32864-5740-EC7E-263E-1CC4FC486A97}"/>
              </a:ext>
            </a:extLst>
          </p:cNvPr>
          <p:cNvSpPr txBox="1"/>
          <p:nvPr/>
        </p:nvSpPr>
        <p:spPr>
          <a:xfrm>
            <a:off x="755780" y="5067062"/>
            <a:ext cx="2474378" cy="126894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 lnSpcReduction="10000"/>
          </a:bodyPr>
          <a:lstStyle/>
          <a:p>
            <a:pPr algn="ctr"/>
            <a:r>
              <a:rPr lang="en-IN" sz="2400" b="1" i="0" spc="0" dirty="0">
                <a:solidFill>
                  <a:schemeClr val="accent4">
                    <a:lumMod val="50000"/>
                  </a:schemeClr>
                </a:solidFill>
              </a:rPr>
              <a:t>Team Lead</a:t>
            </a:r>
          </a:p>
          <a:p>
            <a:pPr algn="ctr"/>
            <a:endParaRPr lang="en-IN" sz="2400" b="1" dirty="0">
              <a:solidFill>
                <a:schemeClr val="accent4">
                  <a:lumMod val="50000"/>
                </a:schemeClr>
              </a:solidFill>
            </a:endParaRPr>
          </a:p>
          <a:p>
            <a:pPr algn="ctr"/>
            <a:r>
              <a:rPr lang="en-IN" sz="2200" b="1" i="0" spc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 Optimist Leader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194BAD5-82CA-E170-9155-CEB9BED04B21}"/>
              </a:ext>
            </a:extLst>
          </p:cNvPr>
          <p:cNvSpPr txBox="1"/>
          <p:nvPr/>
        </p:nvSpPr>
        <p:spPr>
          <a:xfrm>
            <a:off x="447868" y="466531"/>
            <a:ext cx="3346882" cy="81167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algn="l"/>
            <a:r>
              <a:rPr lang="en-IN" sz="2800" b="1" i="0" spc="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 Rounded MT Bold" panose="020F0704030504030204" pitchFamily="34" charset="0"/>
              </a:rPr>
              <a:t>MEET OUR </a:t>
            </a:r>
            <a:r>
              <a:rPr lang="en-IN" sz="2800" b="1" i="0" spc="0" dirty="0">
                <a:solidFill>
                  <a:srgbClr val="00B0F0"/>
                </a:solidFill>
                <a:latin typeface="Arial Rounded MT Bold" panose="020F0704030504030204" pitchFamily="34" charset="0"/>
              </a:rPr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3801457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1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6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9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0" fill="hold">
                      <p:stCondLst>
                        <p:cond delay="indefinite"/>
                      </p:stCondLst>
                      <p:childTnLst>
                        <p:par>
                          <p:cTn id="181" fill="hold">
                            <p:stCondLst>
                              <p:cond delay="0"/>
                            </p:stCondLst>
                            <p:childTnLst>
                              <p:par>
                                <p:cTn id="18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4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6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4" grpId="0" animBg="1"/>
      <p:bldP spid="5" grpId="0" animBg="1"/>
      <p:bldP spid="6" grpId="0" animBg="1"/>
      <p:bldP spid="23" grpId="0" animBg="1"/>
      <p:bldP spid="25" grpId="0" animBg="1"/>
      <p:bldP spid="27" grpId="0" animBg="1"/>
      <p:bldP spid="29" grpId="0" animBg="1"/>
      <p:bldP spid="31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8" grpId="0"/>
      <p:bldP spid="8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Brace 12">
            <a:extLst>
              <a:ext uri="{FF2B5EF4-FFF2-40B4-BE49-F238E27FC236}">
                <a16:creationId xmlns:a16="http://schemas.microsoft.com/office/drawing/2014/main" id="{D2B97501-5C21-4BCE-8971-381B183C07D4}"/>
              </a:ext>
            </a:extLst>
          </p:cNvPr>
          <p:cNvSpPr/>
          <p:nvPr/>
        </p:nvSpPr>
        <p:spPr>
          <a:xfrm rot="5400000">
            <a:off x="4970306" y="1515922"/>
            <a:ext cx="1300022" cy="4294909"/>
          </a:xfrm>
          <a:prstGeom prst="rightBrace">
            <a:avLst>
              <a:gd name="adj1" fmla="val 8333"/>
              <a:gd name="adj2" fmla="val 51243"/>
            </a:avLst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8EECD3-365E-40DE-9EF1-2C4C3AE7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09" y="83386"/>
            <a:ext cx="10573640" cy="396875"/>
          </a:xfrm>
        </p:spPr>
        <p:txBody>
          <a:bodyPr/>
          <a:lstStyle/>
          <a:p>
            <a:r>
              <a:rPr lang="en-GB" dirty="0"/>
              <a:t>Secret Ingredient – Offshore &amp; Onsite connec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6819CA-558E-4872-ADF5-6106F1E931BA}"/>
              </a:ext>
            </a:extLst>
          </p:cNvPr>
          <p:cNvSpPr/>
          <p:nvPr/>
        </p:nvSpPr>
        <p:spPr>
          <a:xfrm>
            <a:off x="2473616" y="986828"/>
            <a:ext cx="2052193" cy="2026536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6" name="Picture 4" descr="TCS Gurgaon 7 office tour from Inside Part 1 - YouTube">
            <a:extLst>
              <a:ext uri="{FF2B5EF4-FFF2-40B4-BE49-F238E27FC236}">
                <a16:creationId xmlns:a16="http://schemas.microsoft.com/office/drawing/2014/main" id="{21025F45-CE4E-4056-9FCF-F5E6F00BA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675" y="1356093"/>
            <a:ext cx="1792073" cy="13440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Case Study - Virgin Atlantic Workplace Success Story">
            <a:extLst>
              <a:ext uri="{FF2B5EF4-FFF2-40B4-BE49-F238E27FC236}">
                <a16:creationId xmlns:a16="http://schemas.microsoft.com/office/drawing/2014/main" id="{0A723D24-7E84-41D1-9695-84D4139A1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294" y="1410701"/>
            <a:ext cx="1758407" cy="98338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3F74474-3163-47D1-B5C9-BF7B994BC86A}"/>
              </a:ext>
            </a:extLst>
          </p:cNvPr>
          <p:cNvSpPr/>
          <p:nvPr/>
        </p:nvSpPr>
        <p:spPr>
          <a:xfrm>
            <a:off x="2473616" y="4332058"/>
            <a:ext cx="6561895" cy="2525941"/>
          </a:xfrm>
          <a:prstGeom prst="roundRect">
            <a:avLst/>
          </a:prstGeom>
          <a:noFill/>
          <a:ln w="222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188CA0-5F95-47EE-B477-7A4A7A0D02C1}"/>
              </a:ext>
            </a:extLst>
          </p:cNvPr>
          <p:cNvSpPr/>
          <p:nvPr/>
        </p:nvSpPr>
        <p:spPr>
          <a:xfrm>
            <a:off x="5016000" y="3233388"/>
            <a:ext cx="1080000" cy="1080000"/>
          </a:xfrm>
          <a:prstGeom prst="ellipse">
            <a:avLst/>
          </a:prstGeom>
          <a:solidFill>
            <a:schemeClr val="bg2"/>
          </a:solidFill>
          <a:ln w="444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523279-E8F5-41A1-87EB-B7DB36384C88}"/>
              </a:ext>
            </a:extLst>
          </p:cNvPr>
          <p:cNvSpPr/>
          <p:nvPr/>
        </p:nvSpPr>
        <p:spPr>
          <a:xfrm>
            <a:off x="6685402" y="972788"/>
            <a:ext cx="2052193" cy="2026536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AD1751-50C7-492B-9D8D-CFBD974DC87B}"/>
              </a:ext>
            </a:extLst>
          </p:cNvPr>
          <p:cNvSpPr txBox="1"/>
          <p:nvPr/>
        </p:nvSpPr>
        <p:spPr>
          <a:xfrm>
            <a:off x="2835554" y="4571477"/>
            <a:ext cx="3380509" cy="9236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T</a:t>
            </a:r>
            <a:r>
              <a:rPr lang="en-GB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eam Work: Both onsite and offshore teams work together to sort as user issue keeping customer satisfaction as key goal.</a:t>
            </a:r>
            <a:endParaRPr lang="en-GB" sz="1600" b="0" i="0" spc="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FF"/>
                </a:solidFill>
              </a:rPr>
              <a:t>Tcs</a:t>
            </a:r>
            <a:r>
              <a:rPr lang="en-US" sz="1600" dirty="0">
                <a:solidFill>
                  <a:srgbClr val="0000FF"/>
                </a:solidFill>
              </a:rPr>
              <a:t> Weekly connect: Helps in enhancing bon between offshore and onsite team </a:t>
            </a:r>
            <a:endParaRPr lang="en-GB" sz="1600" dirty="0">
              <a:solidFill>
                <a:srgbClr val="0000FF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543149-5F3E-415A-880C-D3FFF37E70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4990" y="3233388"/>
            <a:ext cx="1551073" cy="10799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AF6C50-D66C-453E-85C7-33C2492A4771}"/>
              </a:ext>
            </a:extLst>
          </p:cNvPr>
          <p:cNvSpPr txBox="1"/>
          <p:nvPr/>
        </p:nvSpPr>
        <p:spPr>
          <a:xfrm>
            <a:off x="2712203" y="2700148"/>
            <a:ext cx="1683545" cy="29917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l"/>
            <a:r>
              <a:rPr lang="en-US" sz="1800" b="1" i="1" spc="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OFFSHORE</a:t>
            </a:r>
            <a:endParaRPr lang="en-GB" sz="1800" b="1" i="1" spc="0" dirty="0" err="1">
              <a:solidFill>
                <a:schemeClr val="accent3">
                  <a:lumMod val="50000"/>
                </a:schemeClr>
              </a:solidFill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89C6FB-31CF-44C1-BEB6-112602480CBE}"/>
              </a:ext>
            </a:extLst>
          </p:cNvPr>
          <p:cNvSpPr txBox="1"/>
          <p:nvPr/>
        </p:nvSpPr>
        <p:spPr>
          <a:xfrm>
            <a:off x="6989736" y="2526224"/>
            <a:ext cx="1379349" cy="3409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US" sz="2000" b="1" i="1" spc="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ONSITE</a:t>
            </a:r>
            <a:endParaRPr lang="en-GB" sz="2000" b="1" i="1" spc="0" dirty="0" err="1">
              <a:solidFill>
                <a:schemeClr val="accent3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83654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8EECD3-365E-40DE-9EF1-2C4C3AE7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09" y="176376"/>
            <a:ext cx="10573640" cy="396875"/>
          </a:xfrm>
        </p:spPr>
        <p:txBody>
          <a:bodyPr/>
          <a:lstStyle/>
          <a:p>
            <a:r>
              <a:rPr lang="en-GB" dirty="0"/>
              <a:t>A day in life of Team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33275B3-DD49-4068-83DC-94A253750D89}"/>
              </a:ext>
            </a:extLst>
          </p:cNvPr>
          <p:cNvSpPr txBox="1">
            <a:spLocks/>
          </p:cNvSpPr>
          <p:nvPr/>
        </p:nvSpPr>
        <p:spPr>
          <a:xfrm>
            <a:off x="3246292" y="2229333"/>
            <a:ext cx="5481688" cy="3643411"/>
          </a:xfrm>
        </p:spPr>
        <p:txBody>
          <a:bodyPr tIns="0">
            <a:noAutofit/>
          </a:bodyPr>
          <a:lstStyle>
            <a:lvl1pPr marL="0" indent="0" algn="l" defTabSz="458372" rtl="0" eaLnBrk="1" latinLnBrk="0" hangingPunct="1">
              <a:spcBef>
                <a:spcPts val="2053"/>
              </a:spcBef>
              <a:buFont typeface="Arial"/>
              <a:buNone/>
              <a:defRPr sz="1826" b="0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 algn="l" defTabSz="458372" rtl="0" eaLnBrk="1" latinLnBrk="0" hangingPunct="1">
              <a:lnSpc>
                <a:spcPct val="120000"/>
              </a:lnSpc>
              <a:spcBef>
                <a:spcPct val="20000"/>
              </a:spcBef>
              <a:buFontTx/>
              <a:buNone/>
              <a:defRPr sz="1368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04574" indent="-204574" algn="l" defTabSz="458372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tx1"/>
              </a:buClr>
              <a:buFont typeface="Arial"/>
              <a:buChar char="•"/>
              <a:defRPr sz="1368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0" indent="0" algn="l" defTabSz="458372" rtl="0" eaLnBrk="1" latinLnBrk="0" hangingPunct="1">
              <a:spcBef>
                <a:spcPts val="1368"/>
              </a:spcBef>
              <a:buFont typeface="Arial"/>
              <a:buNone/>
              <a:defRPr sz="1482" b="0" kern="1200" spc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458372" rtl="0" eaLnBrk="1" latinLnBrk="0" hangingPunct="1">
              <a:lnSpc>
                <a:spcPct val="120000"/>
              </a:lnSpc>
              <a:spcBef>
                <a:spcPts val="456"/>
              </a:spcBef>
              <a:spcAft>
                <a:spcPts val="456"/>
              </a:spcAft>
              <a:buFont typeface="Arial"/>
              <a:buNone/>
              <a:defRPr sz="1202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2103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940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7770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614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chemeClr val="accent2"/>
                </a:solidFill>
                <a:latin typeface="+mn-lt"/>
              </a:rPr>
              <a:t> Queue Management; Proper management of incident , Request  and problem tickets. 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chemeClr val="accent1"/>
                </a:solidFill>
                <a:latin typeface="+mn-lt"/>
              </a:rPr>
              <a:t>Customer Centric: keeping customer satisfaction as key goal, we work as team to resolve different technical issue faced by users at topmost priority.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0B050"/>
                </a:solidFill>
              </a:rPr>
              <a:t>D</a:t>
            </a:r>
            <a:r>
              <a:rPr lang="en-GB" sz="1200" dirty="0">
                <a:solidFill>
                  <a:srgbClr val="00B050"/>
                </a:solidFill>
              </a:rPr>
              <a:t>aily stand up operations meeting to sort day to day challenges.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242424"/>
                </a:solidFill>
                <a:latin typeface="+mn-lt"/>
              </a:rPr>
              <a:t>Refresher Session: Refreshers sessions conducted to enhance technical skills 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0589"/>
                </a:solidFill>
                <a:latin typeface="+mn-lt"/>
              </a:rPr>
              <a:t>E</a:t>
            </a:r>
            <a:r>
              <a:rPr lang="en-GB" sz="1200" dirty="0">
                <a:solidFill>
                  <a:srgbClr val="1E0589"/>
                </a:solidFill>
                <a:latin typeface="+mn-lt"/>
              </a:rPr>
              <a:t>UC Daily Connect: Discuss complicated incidents or request and enhance team bonding. 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</a:pPr>
            <a:endParaRPr lang="en-GB" sz="1200" dirty="0">
              <a:solidFill>
                <a:srgbClr val="242424"/>
              </a:solidFill>
              <a:latin typeface="+mn-l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A0D9367-CDFD-46D4-BCA1-A68410969DBA}"/>
              </a:ext>
            </a:extLst>
          </p:cNvPr>
          <p:cNvSpPr/>
          <p:nvPr/>
        </p:nvSpPr>
        <p:spPr>
          <a:xfrm>
            <a:off x="877454" y="1363317"/>
            <a:ext cx="10418619" cy="4802909"/>
          </a:xfrm>
          <a:prstGeom prst="roundRect">
            <a:avLst/>
          </a:prstGeom>
          <a:noFill/>
          <a:ln w="25400">
            <a:solidFill>
              <a:schemeClr val="accent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4098" name="Picture 2" descr="Startup icon">
            <a:extLst>
              <a:ext uri="{FF2B5EF4-FFF2-40B4-BE49-F238E27FC236}">
                <a16:creationId xmlns:a16="http://schemas.microsoft.com/office/drawing/2014/main" id="{F4432973-9F2D-4381-8E50-9ED6E6F6C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7885" y="3478502"/>
            <a:ext cx="572537" cy="572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Analytics icon">
            <a:extLst>
              <a:ext uri="{FF2B5EF4-FFF2-40B4-BE49-F238E27FC236}">
                <a16:creationId xmlns:a16="http://schemas.microsoft.com/office/drawing/2014/main" id="{3FAE6DA3-6D3F-44F8-BF36-28FF3C266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1281" y="2165579"/>
            <a:ext cx="505746" cy="505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Workspace icon">
            <a:extLst>
              <a:ext uri="{FF2B5EF4-FFF2-40B4-BE49-F238E27FC236}">
                <a16:creationId xmlns:a16="http://schemas.microsoft.com/office/drawing/2014/main" id="{D4971DD3-9B13-4F97-91D9-12F7E2414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357" y="3386022"/>
            <a:ext cx="600927" cy="60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Meeting free icon">
            <a:extLst>
              <a:ext uri="{FF2B5EF4-FFF2-40B4-BE49-F238E27FC236}">
                <a16:creationId xmlns:a16="http://schemas.microsoft.com/office/drawing/2014/main" id="{E1B70EA5-7AD3-4D00-9B42-9458725E1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9127" y="4841105"/>
            <a:ext cx="561194" cy="56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Effort free icon">
            <a:extLst>
              <a:ext uri="{FF2B5EF4-FFF2-40B4-BE49-F238E27FC236}">
                <a16:creationId xmlns:a16="http://schemas.microsoft.com/office/drawing/2014/main" id="{F19AC5BF-BB38-46DC-BA04-107473EE49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972" y="2028824"/>
            <a:ext cx="708022" cy="70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>
            <a:extLst>
              <a:ext uri="{FF2B5EF4-FFF2-40B4-BE49-F238E27FC236}">
                <a16:creationId xmlns:a16="http://schemas.microsoft.com/office/drawing/2014/main" id="{76501943-E474-4F79-A423-5C2B1F949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357" y="4792225"/>
            <a:ext cx="655782" cy="65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E0B8A4B-E914-4C92-B26D-DD696E9101D8}"/>
              </a:ext>
            </a:extLst>
          </p:cNvPr>
          <p:cNvSpPr txBox="1"/>
          <p:nvPr/>
        </p:nvSpPr>
        <p:spPr>
          <a:xfrm>
            <a:off x="691811" y="2783994"/>
            <a:ext cx="1948873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W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4AADF2-770B-485B-944E-DF8BB5321BFB}"/>
              </a:ext>
            </a:extLst>
          </p:cNvPr>
          <p:cNvSpPr txBox="1"/>
          <p:nvPr/>
        </p:nvSpPr>
        <p:spPr>
          <a:xfrm>
            <a:off x="720546" y="4074006"/>
            <a:ext cx="1948873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Focu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8752D4-1B5A-4871-8C25-F25D4D93D70F}"/>
              </a:ext>
            </a:extLst>
          </p:cNvPr>
          <p:cNvSpPr txBox="1"/>
          <p:nvPr/>
        </p:nvSpPr>
        <p:spPr>
          <a:xfrm>
            <a:off x="915197" y="5515074"/>
            <a:ext cx="1559570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 fontScale="92500" lnSpcReduction="20000"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Onsite/Customer Connec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FF96B3-A074-47C2-B8CE-0CC4C3C2CABE}"/>
              </a:ext>
            </a:extLst>
          </p:cNvPr>
          <p:cNvSpPr txBox="1"/>
          <p:nvPr/>
        </p:nvSpPr>
        <p:spPr>
          <a:xfrm>
            <a:off x="9157779" y="2736050"/>
            <a:ext cx="1559570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Analy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FF99CE-3316-4628-9BDA-47025D74CD48}"/>
              </a:ext>
            </a:extLst>
          </p:cNvPr>
          <p:cNvSpPr txBox="1"/>
          <p:nvPr/>
        </p:nvSpPr>
        <p:spPr>
          <a:xfrm>
            <a:off x="9110202" y="4074006"/>
            <a:ext cx="1559570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Solve puzz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0ACD056-FE78-4460-A3B8-C4ADEB09B60A}"/>
              </a:ext>
            </a:extLst>
          </p:cNvPr>
          <p:cNvSpPr txBox="1"/>
          <p:nvPr/>
        </p:nvSpPr>
        <p:spPr>
          <a:xfrm>
            <a:off x="9200348" y="5448007"/>
            <a:ext cx="1559570" cy="2920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GB" sz="1200" b="0" i="0" spc="0" dirty="0">
                <a:solidFill>
                  <a:schemeClr val="accent3">
                    <a:lumMod val="50000"/>
                  </a:schemeClr>
                </a:solidFill>
              </a:rPr>
              <a:t>Collaborate</a:t>
            </a:r>
          </a:p>
        </p:txBody>
      </p:sp>
    </p:spTree>
    <p:extLst>
      <p:ext uri="{BB962C8B-B14F-4D97-AF65-F5344CB8AC3E}">
        <p14:creationId xmlns:p14="http://schemas.microsoft.com/office/powerpoint/2010/main" val="70457599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8EECD3-365E-40DE-9EF1-2C4C3AE7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09" y="176376"/>
            <a:ext cx="10573640" cy="396875"/>
          </a:xfrm>
        </p:spPr>
        <p:txBody>
          <a:bodyPr/>
          <a:lstStyle/>
          <a:p>
            <a:r>
              <a:rPr lang="en-GB" dirty="0"/>
              <a:t>New Improvements and initiativ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A319D64-2993-4C8F-AECE-C5541C9750CD}"/>
              </a:ext>
            </a:extLst>
          </p:cNvPr>
          <p:cNvSpPr txBox="1">
            <a:spLocks/>
          </p:cNvSpPr>
          <p:nvPr/>
        </p:nvSpPr>
        <p:spPr>
          <a:xfrm>
            <a:off x="2605459" y="2337988"/>
            <a:ext cx="5481688" cy="3643411"/>
          </a:xfrm>
        </p:spPr>
        <p:txBody>
          <a:bodyPr tIns="0">
            <a:noAutofit/>
          </a:bodyPr>
          <a:lstStyle>
            <a:lvl1pPr marL="0" indent="0" algn="l" defTabSz="458372" rtl="0" eaLnBrk="1" latinLnBrk="0" hangingPunct="1">
              <a:spcBef>
                <a:spcPts val="2053"/>
              </a:spcBef>
              <a:buFont typeface="Arial"/>
              <a:buNone/>
              <a:defRPr sz="1826" b="0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 algn="l" defTabSz="458372" rtl="0" eaLnBrk="1" latinLnBrk="0" hangingPunct="1">
              <a:lnSpc>
                <a:spcPct val="120000"/>
              </a:lnSpc>
              <a:spcBef>
                <a:spcPct val="20000"/>
              </a:spcBef>
              <a:buFontTx/>
              <a:buNone/>
              <a:defRPr sz="1368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04574" indent="-204574" algn="l" defTabSz="458372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tx1"/>
              </a:buClr>
              <a:buFont typeface="Arial"/>
              <a:buChar char="•"/>
              <a:defRPr sz="1368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0" indent="0" algn="l" defTabSz="458372" rtl="0" eaLnBrk="1" latinLnBrk="0" hangingPunct="1">
              <a:spcBef>
                <a:spcPts val="1368"/>
              </a:spcBef>
              <a:buFont typeface="Arial"/>
              <a:buNone/>
              <a:defRPr sz="1482" b="0" kern="1200" spc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458372" rtl="0" eaLnBrk="1" latinLnBrk="0" hangingPunct="1">
              <a:lnSpc>
                <a:spcPct val="120000"/>
              </a:lnSpc>
              <a:spcBef>
                <a:spcPts val="456"/>
              </a:spcBef>
              <a:spcAft>
                <a:spcPts val="456"/>
              </a:spcAft>
              <a:buFont typeface="Arial"/>
              <a:buNone/>
              <a:defRPr sz="1202" kern="1200" spc="0">
                <a:solidFill>
                  <a:schemeClr val="accent3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2103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940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7770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6141" indent="-229184" algn="l" defTabSz="458372" rtl="0" eaLnBrk="1" latinLnBrk="0" hangingPunct="1">
              <a:spcBef>
                <a:spcPct val="20000"/>
              </a:spcBef>
              <a:buFont typeface="Arial"/>
              <a:buChar char="•"/>
              <a:defRPr sz="20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chemeClr val="accent2"/>
                </a:solidFill>
                <a:latin typeface="+mn-lt"/>
              </a:rPr>
              <a:t>point1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chemeClr val="accent1"/>
                </a:solidFill>
                <a:latin typeface="+mn-lt"/>
              </a:rPr>
              <a:t>point2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rgbClr val="00B050"/>
                </a:solidFill>
                <a:latin typeface="+mn-lt"/>
              </a:rPr>
              <a:t>point3</a:t>
            </a:r>
            <a:endParaRPr lang="en-GB" sz="1200" dirty="0">
              <a:solidFill>
                <a:srgbClr val="242424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GB" sz="1200" dirty="0">
                <a:solidFill>
                  <a:srgbClr val="242424"/>
                </a:solidFill>
                <a:latin typeface="+mn-lt"/>
              </a:rPr>
              <a:t>point4</a:t>
            </a:r>
          </a:p>
          <a:p>
            <a:pPr marL="285750" indent="-285750" algn="just">
              <a:buFont typeface="Wingdings" panose="05000000000000000000" pitchFamily="2" charset="2"/>
              <a:buChar char="v"/>
            </a:pPr>
            <a:endParaRPr lang="en-GB" sz="1200" dirty="0">
              <a:solidFill>
                <a:srgbClr val="242424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10EFEC-2BF9-4718-B2D1-34DAEF548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3668" y="1783252"/>
            <a:ext cx="2607454" cy="217225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AF2BF0E-CEFA-4331-B26E-2BF22516D803}"/>
              </a:ext>
            </a:extLst>
          </p:cNvPr>
          <p:cNvSpPr/>
          <p:nvPr/>
        </p:nvSpPr>
        <p:spPr>
          <a:xfrm>
            <a:off x="1855433" y="1429305"/>
            <a:ext cx="8611340" cy="3643411"/>
          </a:xfrm>
          <a:prstGeom prst="roundRect">
            <a:avLst/>
          </a:prstGeom>
          <a:noFill/>
          <a:ln w="25400">
            <a:solidFill>
              <a:schemeClr val="accent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479755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F2F37F-19F9-471D-A1F3-904FF984A1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09D435A-CEA1-47F4-9A98-5DA89D9F9540}"/>
              </a:ext>
            </a:extLst>
          </p:cNvPr>
          <p:cNvSpPr/>
          <p:nvPr/>
        </p:nvSpPr>
        <p:spPr>
          <a:xfrm>
            <a:off x="3849232" y="2967335"/>
            <a:ext cx="44935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en For All </a:t>
            </a:r>
            <a:endParaRPr 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1BDCDC1-1ED5-42EE-9E32-A922F760C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35965"/>
            <a:ext cx="7109417" cy="1539330"/>
          </a:xfrm>
          <a:prstGeom prst="rect">
            <a:avLst/>
          </a:prstGeom>
        </p:spPr>
      </p:pic>
      <p:pic>
        <p:nvPicPr>
          <p:cNvPr id="16" name="Picture Placeholder 12">
            <a:extLst>
              <a:ext uri="{FF2B5EF4-FFF2-40B4-BE49-F238E27FC236}">
                <a16:creationId xmlns:a16="http://schemas.microsoft.com/office/drawing/2014/main" id="{EC478B39-424F-4A58-B546-FB4CB7EF7D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07" t="-504" r="40464" b="-3992"/>
          <a:stretch/>
        </p:blipFill>
        <p:spPr>
          <a:xfrm>
            <a:off x="5228948" y="842762"/>
            <a:ext cx="5376156" cy="5104364"/>
          </a:xfr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46F4775-7E6D-4977-B5B9-5E81E3FCA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8859" y="4308791"/>
            <a:ext cx="2829140" cy="1638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81800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BEDD6D-8983-471F-87DB-2B539D15B7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413" y="557940"/>
            <a:ext cx="10486696" cy="299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296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 Slide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Text Slide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Breaker Slide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Text + Image Slide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Closing Slide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Blanks">
  <a:themeElements>
    <a:clrScheme name="Virgin Atlantic">
      <a:dk1>
        <a:srgbClr val="333333"/>
      </a:dk1>
      <a:lt1>
        <a:srgbClr val="FFFFFF"/>
      </a:lt1>
      <a:dk2>
        <a:srgbClr val="5B0569"/>
      </a:dk2>
      <a:lt2>
        <a:srgbClr val="FFFFFF"/>
      </a:lt2>
      <a:accent1>
        <a:srgbClr val="DA0530"/>
      </a:accent1>
      <a:accent2>
        <a:srgbClr val="5B0569"/>
      </a:accent2>
      <a:accent3>
        <a:srgbClr val="333333"/>
      </a:accent3>
      <a:accent4>
        <a:srgbClr val="666666"/>
      </a:accent4>
      <a:accent5>
        <a:srgbClr val="EEEEEE"/>
      </a:accent5>
      <a:accent6>
        <a:srgbClr val="000000"/>
      </a:accent6>
      <a:hlink>
        <a:srgbClr val="DA0530"/>
      </a:hlink>
      <a:folHlink>
        <a:srgbClr val="DA053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 anchor="t">
        <a:normAutofit/>
      </a:bodyPr>
      <a:lstStyle>
        <a:defPPr algn="l">
          <a:defRPr sz="1200" b="0" i="0" spc="0" dirty="0" err="1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02A79C56038948868EDFF3957E55DA" ma:contentTypeVersion="2" ma:contentTypeDescription="Create a new document." ma:contentTypeScope="" ma:versionID="88e31d96b335f0735c63629d8ae19c4b">
  <xsd:schema xmlns:xsd="http://www.w3.org/2001/XMLSchema" xmlns:xs="http://www.w3.org/2001/XMLSchema" xmlns:p="http://schemas.microsoft.com/office/2006/metadata/properties" xmlns:ns2="d7ae5361-6416-4678-bb84-1369b54501f3" targetNamespace="http://schemas.microsoft.com/office/2006/metadata/properties" ma:root="true" ma:fieldsID="0bb3c89285b179bec325dc2abae511c1" ns2:_="">
    <xsd:import namespace="d7ae5361-6416-4678-bb84-1369b54501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ae5361-6416-4678-bb84-1369b54501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C50257-C8E3-4862-ADCF-22E5AC44C4BD}">
  <ds:schemaRefs>
    <ds:schemaRef ds:uri="d7ae5361-6416-4678-bb84-1369b54501f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CCAB010-86BE-4EC7-B26E-294B10B31ED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7ae5361-6416-4678-bb84-1369b54501f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02B8DB3-D3D1-4B1F-B1F7-F3C98507CF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56</TotalTime>
  <Words>286</Words>
  <Application>Microsoft Office PowerPoint</Application>
  <PresentationFormat>Widescreen</PresentationFormat>
  <Paragraphs>5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Arial Black</vt:lpstr>
      <vt:lpstr>Arial Rounded MT Bold</vt:lpstr>
      <vt:lpstr>Calibri</vt:lpstr>
      <vt:lpstr>Century Gothic</vt:lpstr>
      <vt:lpstr>Wingdings</vt:lpstr>
      <vt:lpstr>1_Title Slide</vt:lpstr>
      <vt:lpstr>2_Text Slide</vt:lpstr>
      <vt:lpstr>3_Breaker Slide</vt:lpstr>
      <vt:lpstr>4_Text + Image Slide</vt:lpstr>
      <vt:lpstr>5_Closing Slide</vt:lpstr>
      <vt:lpstr>6_Blanks</vt:lpstr>
      <vt:lpstr>think-cell Slide</vt:lpstr>
      <vt:lpstr>EUC : Pillar of An IT </vt:lpstr>
      <vt:lpstr>Agenda</vt:lpstr>
      <vt:lpstr>PowerPoint Presentation</vt:lpstr>
      <vt:lpstr>PowerPoint Presentation</vt:lpstr>
      <vt:lpstr>Secret Ingredient – Offshore &amp; Onsite connect</vt:lpstr>
      <vt:lpstr>A day in life of Team!</vt:lpstr>
      <vt:lpstr>New Improvements and initiatives</vt:lpstr>
      <vt:lpstr>PowerPoint Presentation</vt:lpstr>
      <vt:lpstr>PowerPoint Presentation</vt:lpstr>
    </vt:vector>
  </TitlesOfParts>
  <Manager/>
  <Company>Virgin Holiday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CS</dc:creator>
  <cp:keywords/>
  <dc:description/>
  <cp:lastModifiedBy>Ashutosh singh</cp:lastModifiedBy>
  <cp:revision>269</cp:revision>
  <dcterms:created xsi:type="dcterms:W3CDTF">2016-11-03T14:33:50Z</dcterms:created>
  <dcterms:modified xsi:type="dcterms:W3CDTF">2022-08-24T08:13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02A79C56038948868EDFF3957E55DA</vt:lpwstr>
  </property>
</Properties>
</file>